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871" r:id="rId1"/>
  </p:sldMasterIdLst>
  <p:notesMasterIdLst>
    <p:notesMasterId r:id="rId17"/>
  </p:notesMasterIdLst>
  <p:sldIdLst>
    <p:sldId id="487" r:id="rId2"/>
    <p:sldId id="386" r:id="rId3"/>
    <p:sldId id="489" r:id="rId4"/>
    <p:sldId id="493" r:id="rId5"/>
    <p:sldId id="482" r:id="rId6"/>
    <p:sldId id="483" r:id="rId7"/>
    <p:sldId id="385" r:id="rId8"/>
    <p:sldId id="492" r:id="rId9"/>
    <p:sldId id="388" r:id="rId10"/>
    <p:sldId id="490" r:id="rId11"/>
    <p:sldId id="484" r:id="rId12"/>
    <p:sldId id="485" r:id="rId13"/>
    <p:sldId id="486" r:id="rId14"/>
    <p:sldId id="491" r:id="rId15"/>
    <p:sldId id="271" r:id="rId16"/>
  </p:sldIdLst>
  <p:sldSz cx="12192000" cy="6858000"/>
  <p:notesSz cx="12192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7" d="100"/>
          <a:sy n="107" d="100"/>
        </p:scale>
        <p:origin x="714" y="11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2A2C6D-DCEF-4C91-B61B-D626FC97780C}" type="doc">
      <dgm:prSet loTypeId="urn:microsoft.com/office/officeart/2005/8/layout/hierarchy3" loCatId="list" qsTypeId="urn:microsoft.com/office/officeart/2005/8/quickstyle/simple2" qsCatId="simple" csTypeId="urn:microsoft.com/office/officeart/2005/8/colors/accent0_3" csCatId="mainScheme" phldr="1"/>
      <dgm:spPr/>
      <dgm:t>
        <a:bodyPr/>
        <a:lstStyle/>
        <a:p>
          <a:endParaRPr lang="en-IN"/>
        </a:p>
      </dgm:t>
    </dgm:pt>
    <dgm:pt modelId="{61685736-2C12-4CEA-A6A1-A5836EEF39B6}">
      <dgm:prSet phldrT="[Text]" custT="1"/>
      <dgm:spPr>
        <a:solidFill>
          <a:srgbClr val="002060"/>
        </a:solidFill>
      </dgm:spPr>
      <dgm:t>
        <a:bodyPr/>
        <a:lstStyle/>
        <a:p>
          <a:r>
            <a:rPr lang="en-IN" sz="1800" dirty="0">
              <a:latin typeface="Arial" panose="020B0604020202020204" pitchFamily="34" charset="0"/>
              <a:cs typeface="Arial" panose="020B0604020202020204" pitchFamily="34" charset="0"/>
            </a:rPr>
            <a:t>Vision</a:t>
          </a:r>
        </a:p>
      </dgm:t>
    </dgm:pt>
    <dgm:pt modelId="{CFB1C483-260A-423E-A712-2661C5252DFC}" type="parTrans" cxnId="{14616721-B2B2-4F05-B6FC-3ADE794EC772}">
      <dgm:prSet/>
      <dgm:spPr/>
      <dgm:t>
        <a:bodyPr/>
        <a:lstStyle/>
        <a:p>
          <a:endParaRPr lang="en-IN"/>
        </a:p>
      </dgm:t>
    </dgm:pt>
    <dgm:pt modelId="{8EF4756E-5893-4300-97FA-84E200ED2097}" type="sibTrans" cxnId="{14616721-B2B2-4F05-B6FC-3ADE794EC772}">
      <dgm:prSet/>
      <dgm:spPr/>
    </dgm:pt>
    <dgm:pt modelId="{3516D344-61DE-4C1E-AEA6-5594888D092B}">
      <dgm:prSet phldrT="[Text]"/>
      <dgm:spPr/>
      <dgm:t>
        <a:bodyPr/>
        <a:lstStyle/>
        <a:p>
          <a:r>
            <a:rPr lang="en-IN" dirty="0">
              <a:latin typeface="Arial" panose="020B0604020202020204" pitchFamily="34" charset="0"/>
              <a:cs typeface="Arial" panose="020B0604020202020204" pitchFamily="34" charset="0"/>
            </a:rPr>
            <a:t>Clear road ahead</a:t>
          </a:r>
        </a:p>
      </dgm:t>
    </dgm:pt>
    <dgm:pt modelId="{927CF41F-FF91-4313-B1E5-4B844C9ACB12}" type="parTrans" cxnId="{AA89BDD4-BEAA-46FC-8ABC-05EF43C0345C}">
      <dgm:prSet/>
      <dgm:spPr/>
      <dgm:t>
        <a:bodyPr/>
        <a:lstStyle/>
        <a:p>
          <a:endParaRPr lang="en-IN"/>
        </a:p>
      </dgm:t>
    </dgm:pt>
    <dgm:pt modelId="{7540E0CE-8D21-4EF4-BC3D-B8EC4BE4F9AB}" type="sibTrans" cxnId="{AA89BDD4-BEAA-46FC-8ABC-05EF43C0345C}">
      <dgm:prSet/>
      <dgm:spPr/>
      <dgm:t>
        <a:bodyPr/>
        <a:lstStyle/>
        <a:p>
          <a:endParaRPr lang="en-IN"/>
        </a:p>
      </dgm:t>
    </dgm:pt>
    <dgm:pt modelId="{14FA8FCC-A79F-46A1-9244-23523330EC19}">
      <dgm:prSet phldrT="[Text]" custT="1"/>
      <dgm:spPr>
        <a:solidFill>
          <a:srgbClr val="002060"/>
        </a:solidFill>
      </dgm:spPr>
      <dgm:t>
        <a:bodyPr/>
        <a:lstStyle/>
        <a:p>
          <a:r>
            <a:rPr lang="en-IN" sz="1800" dirty="0">
              <a:latin typeface="Arial" panose="020B0604020202020204" pitchFamily="34" charset="0"/>
              <a:cs typeface="Arial" panose="020B0604020202020204" pitchFamily="34" charset="0"/>
            </a:rPr>
            <a:t>Use cases</a:t>
          </a:r>
        </a:p>
      </dgm:t>
    </dgm:pt>
    <dgm:pt modelId="{D7A2714A-D63F-44C2-B768-C41A88EDF0DD}" type="parTrans" cxnId="{944C4247-FDE9-4B87-AD44-3E6DABB1A651}">
      <dgm:prSet/>
      <dgm:spPr/>
      <dgm:t>
        <a:bodyPr/>
        <a:lstStyle/>
        <a:p>
          <a:endParaRPr lang="en-IN"/>
        </a:p>
      </dgm:t>
    </dgm:pt>
    <dgm:pt modelId="{AD57D27A-ACF4-47B3-B3CA-B9C090FC24C9}" type="sibTrans" cxnId="{944C4247-FDE9-4B87-AD44-3E6DABB1A651}">
      <dgm:prSet/>
      <dgm:spPr/>
    </dgm:pt>
    <dgm:pt modelId="{0C6FF75F-32A0-4D09-AC1D-3E3B63D74799}">
      <dgm:prSet phldrT="[Text]"/>
      <dgm:spPr/>
      <dgm:t>
        <a:bodyPr/>
        <a:lstStyle/>
        <a:p>
          <a:r>
            <a:rPr lang="en-IN" dirty="0">
              <a:latin typeface="Arial" panose="020B0604020202020204" pitchFamily="34" charset="0"/>
              <a:cs typeface="Arial" panose="020B0604020202020204" pitchFamily="34" charset="0"/>
            </a:rPr>
            <a:t>Analytics as main player</a:t>
          </a:r>
        </a:p>
      </dgm:t>
    </dgm:pt>
    <dgm:pt modelId="{21F955DA-415A-4AE5-8054-ECDE24F9FA8A}" type="parTrans" cxnId="{AC7E7410-87CD-4646-BC8D-6D45F46C5A5A}">
      <dgm:prSet/>
      <dgm:spPr/>
      <dgm:t>
        <a:bodyPr/>
        <a:lstStyle/>
        <a:p>
          <a:endParaRPr lang="en-IN"/>
        </a:p>
      </dgm:t>
    </dgm:pt>
    <dgm:pt modelId="{005F73A4-F41A-470A-9969-8BC5D094789E}" type="sibTrans" cxnId="{AC7E7410-87CD-4646-BC8D-6D45F46C5A5A}">
      <dgm:prSet/>
      <dgm:spPr/>
      <dgm:t>
        <a:bodyPr/>
        <a:lstStyle/>
        <a:p>
          <a:endParaRPr lang="en-IN"/>
        </a:p>
      </dgm:t>
    </dgm:pt>
    <dgm:pt modelId="{788F2382-90E6-4DFF-8F73-FF3DB72C949D}">
      <dgm:prSet phldrT="[Text]" custT="1"/>
      <dgm:spPr>
        <a:solidFill>
          <a:srgbClr val="002060"/>
        </a:solidFill>
      </dgm:spPr>
      <dgm:t>
        <a:bodyPr/>
        <a:lstStyle/>
        <a:p>
          <a:r>
            <a:rPr lang="en-IN" sz="1800" dirty="0">
              <a:latin typeface="Arial" panose="020B0604020202020204" pitchFamily="34" charset="0"/>
              <a:cs typeface="Arial" panose="020B0604020202020204" pitchFamily="34" charset="0"/>
            </a:rPr>
            <a:t>Models &amp; Engines</a:t>
          </a:r>
        </a:p>
      </dgm:t>
    </dgm:pt>
    <dgm:pt modelId="{066CE864-8022-4AFA-8AA1-50D28A824C4C}" type="parTrans" cxnId="{E97EB835-C8B2-4F8F-88E0-CB92EC3118FF}">
      <dgm:prSet/>
      <dgm:spPr/>
      <dgm:t>
        <a:bodyPr/>
        <a:lstStyle/>
        <a:p>
          <a:endParaRPr lang="en-IN"/>
        </a:p>
      </dgm:t>
    </dgm:pt>
    <dgm:pt modelId="{A99BE60D-A0DE-4A3E-AB30-4FC7D3A58550}" type="sibTrans" cxnId="{E97EB835-C8B2-4F8F-88E0-CB92EC3118FF}">
      <dgm:prSet/>
      <dgm:spPr/>
      <dgm:t>
        <a:bodyPr/>
        <a:lstStyle/>
        <a:p>
          <a:endParaRPr lang="en-IN"/>
        </a:p>
      </dgm:t>
    </dgm:pt>
    <dgm:pt modelId="{A4C18D87-57A0-49C8-AEC3-19F0B90FDED8}">
      <dgm:prSet phldrT="[Text]"/>
      <dgm:spPr/>
      <dgm:t>
        <a:bodyPr/>
        <a:lstStyle/>
        <a:p>
          <a:r>
            <a:rPr lang="en-IN" dirty="0">
              <a:latin typeface="Arial" panose="020B0604020202020204" pitchFamily="34" charset="0"/>
              <a:cs typeface="Arial" panose="020B0604020202020204" pitchFamily="34" charset="0"/>
            </a:rPr>
            <a:t>Leadership alignment</a:t>
          </a:r>
        </a:p>
      </dgm:t>
    </dgm:pt>
    <dgm:pt modelId="{8C8F4E58-405D-4718-824A-C518E0A6186B}" type="parTrans" cxnId="{5F0B8EE6-2FDE-4E9B-BB79-9E6D40CCDAFD}">
      <dgm:prSet/>
      <dgm:spPr/>
      <dgm:t>
        <a:bodyPr/>
        <a:lstStyle/>
        <a:p>
          <a:endParaRPr lang="en-IN"/>
        </a:p>
      </dgm:t>
    </dgm:pt>
    <dgm:pt modelId="{8D0D456D-AD3D-4430-89C0-E9ED13F14069}" type="sibTrans" cxnId="{5F0B8EE6-2FDE-4E9B-BB79-9E6D40CCDAFD}">
      <dgm:prSet/>
      <dgm:spPr/>
      <dgm:t>
        <a:bodyPr/>
        <a:lstStyle/>
        <a:p>
          <a:endParaRPr lang="en-IN"/>
        </a:p>
      </dgm:t>
    </dgm:pt>
    <dgm:pt modelId="{F57D577D-3E4C-408E-8928-0B76A50615BE}">
      <dgm:prSet phldrT="[Text]" custT="1"/>
      <dgm:spPr>
        <a:solidFill>
          <a:srgbClr val="002060"/>
        </a:solidFill>
      </dgm:spPr>
      <dgm:t>
        <a:bodyPr/>
        <a:lstStyle/>
        <a:p>
          <a:r>
            <a:rPr lang="en-IN" sz="1800" dirty="0">
              <a:latin typeface="Arial" panose="020B0604020202020204" pitchFamily="34" charset="0"/>
              <a:cs typeface="Arial" panose="020B0604020202020204" pitchFamily="34" charset="0"/>
            </a:rPr>
            <a:t>Talent Pool</a:t>
          </a:r>
        </a:p>
      </dgm:t>
    </dgm:pt>
    <dgm:pt modelId="{A35ADA0F-050C-4DFA-AFEB-F4B88C1C3883}" type="parTrans" cxnId="{5E21D221-C2E1-4C2A-B505-EE07EAF9E2CA}">
      <dgm:prSet/>
      <dgm:spPr/>
      <dgm:t>
        <a:bodyPr/>
        <a:lstStyle/>
        <a:p>
          <a:endParaRPr lang="en-IN"/>
        </a:p>
      </dgm:t>
    </dgm:pt>
    <dgm:pt modelId="{35C734B1-9FE5-4DB4-B973-09486A061544}" type="sibTrans" cxnId="{5E21D221-C2E1-4C2A-B505-EE07EAF9E2CA}">
      <dgm:prSet/>
      <dgm:spPr/>
      <dgm:t>
        <a:bodyPr/>
        <a:lstStyle/>
        <a:p>
          <a:endParaRPr lang="en-IN"/>
        </a:p>
      </dgm:t>
    </dgm:pt>
    <dgm:pt modelId="{AAF87B47-5C5E-4B3A-A94B-17C749D75825}">
      <dgm:prSet phldrT="[Text]"/>
      <dgm:spPr/>
      <dgm:t>
        <a:bodyPr/>
        <a:lstStyle/>
        <a:p>
          <a:r>
            <a:rPr lang="en-IN" dirty="0">
              <a:latin typeface="Arial" panose="020B0604020202020204" pitchFamily="34" charset="0"/>
              <a:cs typeface="Arial" panose="020B0604020202020204" pitchFamily="34" charset="0"/>
            </a:rPr>
            <a:t>Integrated data</a:t>
          </a:r>
        </a:p>
      </dgm:t>
    </dgm:pt>
    <dgm:pt modelId="{3052DA39-23D9-4ED9-BEFD-61C609DF9A12}" type="parTrans" cxnId="{E420161C-7BCD-48F1-8329-D998802FA619}">
      <dgm:prSet/>
      <dgm:spPr/>
      <dgm:t>
        <a:bodyPr/>
        <a:lstStyle/>
        <a:p>
          <a:endParaRPr lang="en-IN"/>
        </a:p>
      </dgm:t>
    </dgm:pt>
    <dgm:pt modelId="{B6C4DC3C-D80D-4EE2-848A-C8F42AEE360E}" type="sibTrans" cxnId="{E420161C-7BCD-48F1-8329-D998802FA619}">
      <dgm:prSet/>
      <dgm:spPr/>
      <dgm:t>
        <a:bodyPr/>
        <a:lstStyle/>
        <a:p>
          <a:endParaRPr lang="en-IN"/>
        </a:p>
      </dgm:t>
    </dgm:pt>
    <dgm:pt modelId="{8183AD43-5CC5-41D2-AE45-89A4000EDF04}">
      <dgm:prSet phldrT="[Text]"/>
      <dgm:spPr/>
      <dgm:t>
        <a:bodyPr/>
        <a:lstStyle/>
        <a:p>
          <a:r>
            <a:rPr lang="en-IN" dirty="0">
              <a:latin typeface="Arial" panose="020B0604020202020204" pitchFamily="34" charset="0"/>
              <a:cs typeface="Arial" panose="020B0604020202020204" pitchFamily="34" charset="0"/>
            </a:rPr>
            <a:t>Analytical strategies</a:t>
          </a:r>
        </a:p>
      </dgm:t>
    </dgm:pt>
    <dgm:pt modelId="{154095F1-7489-492C-B568-1D36B75B659F}" type="parTrans" cxnId="{41D5D70E-A54D-437C-8C75-30ACAE9BF03A}">
      <dgm:prSet/>
      <dgm:spPr/>
      <dgm:t>
        <a:bodyPr/>
        <a:lstStyle/>
        <a:p>
          <a:endParaRPr lang="en-IN"/>
        </a:p>
      </dgm:t>
    </dgm:pt>
    <dgm:pt modelId="{E8E8FB8E-2A26-47C5-A47C-0764CD6336F2}" type="sibTrans" cxnId="{41D5D70E-A54D-437C-8C75-30ACAE9BF03A}">
      <dgm:prSet/>
      <dgm:spPr/>
      <dgm:t>
        <a:bodyPr/>
        <a:lstStyle/>
        <a:p>
          <a:endParaRPr lang="en-IN"/>
        </a:p>
      </dgm:t>
    </dgm:pt>
    <dgm:pt modelId="{69A7657B-3FE8-4CA9-93C4-2FE3D1DC5892}">
      <dgm:prSet phldrT="[Text]"/>
      <dgm:spPr/>
      <dgm:t>
        <a:bodyPr/>
        <a:lstStyle/>
        <a:p>
          <a:r>
            <a:rPr lang="en-IN" dirty="0">
              <a:latin typeface="Arial" panose="020B0604020202020204" pitchFamily="34" charset="0"/>
              <a:cs typeface="Arial" panose="020B0604020202020204" pitchFamily="34" charset="0"/>
            </a:rPr>
            <a:t>Value stream mapping</a:t>
          </a:r>
        </a:p>
      </dgm:t>
    </dgm:pt>
    <dgm:pt modelId="{0F2E4080-5BB2-44C8-8A06-D6D991D4560F}" type="parTrans" cxnId="{1A80377B-66A6-4BA3-8889-A5C08A738BBD}">
      <dgm:prSet/>
      <dgm:spPr/>
      <dgm:t>
        <a:bodyPr/>
        <a:lstStyle/>
        <a:p>
          <a:endParaRPr lang="en-IN"/>
        </a:p>
      </dgm:t>
    </dgm:pt>
    <dgm:pt modelId="{84970742-CB0C-4E45-ABB3-660371D8CB8E}" type="sibTrans" cxnId="{1A80377B-66A6-4BA3-8889-A5C08A738BBD}">
      <dgm:prSet/>
      <dgm:spPr/>
      <dgm:t>
        <a:bodyPr/>
        <a:lstStyle/>
        <a:p>
          <a:endParaRPr lang="en-IN"/>
        </a:p>
      </dgm:t>
    </dgm:pt>
    <dgm:pt modelId="{0E8DE8DA-5967-4A2C-9F0C-D24E77F3A2E0}">
      <dgm:prSet phldrT="[Text]"/>
      <dgm:spPr/>
      <dgm:t>
        <a:bodyPr/>
        <a:lstStyle/>
        <a:p>
          <a:r>
            <a:rPr lang="en-IN" dirty="0">
              <a:latin typeface="Arial" panose="020B0604020202020204" pitchFamily="34" charset="0"/>
              <a:cs typeface="Arial" panose="020B0604020202020204" pitchFamily="34" charset="0"/>
            </a:rPr>
            <a:t>To be part of all deliverables</a:t>
          </a:r>
        </a:p>
      </dgm:t>
    </dgm:pt>
    <dgm:pt modelId="{BEA558B3-6C9E-43D5-8776-776871EF7FBC}" type="parTrans" cxnId="{31E9E85C-9B46-4DF2-9F0B-0AEF8B860E34}">
      <dgm:prSet/>
      <dgm:spPr/>
      <dgm:t>
        <a:bodyPr/>
        <a:lstStyle/>
        <a:p>
          <a:endParaRPr lang="en-IN"/>
        </a:p>
      </dgm:t>
    </dgm:pt>
    <dgm:pt modelId="{FC9BEBAF-E2FD-469B-902A-F7B350CBB3DF}" type="sibTrans" cxnId="{31E9E85C-9B46-4DF2-9F0B-0AEF8B860E34}">
      <dgm:prSet/>
      <dgm:spPr/>
      <dgm:t>
        <a:bodyPr/>
        <a:lstStyle/>
        <a:p>
          <a:endParaRPr lang="en-IN"/>
        </a:p>
      </dgm:t>
    </dgm:pt>
    <dgm:pt modelId="{A4F32692-A39C-447B-99B0-E2AAF4D2B1F1}">
      <dgm:prSet phldrT="[Text]"/>
      <dgm:spPr/>
      <dgm:t>
        <a:bodyPr/>
        <a:lstStyle/>
        <a:p>
          <a:r>
            <a:rPr lang="en-IN" dirty="0">
              <a:latin typeface="Arial" panose="020B0604020202020204" pitchFamily="34" charset="0"/>
              <a:cs typeface="Arial" panose="020B0604020202020204" pitchFamily="34" charset="0"/>
            </a:rPr>
            <a:t>From Customer to Network</a:t>
          </a:r>
        </a:p>
      </dgm:t>
    </dgm:pt>
    <dgm:pt modelId="{168B0E41-B35D-46FE-B935-C177F952DDA8}" type="parTrans" cxnId="{F7391878-46C4-464D-827E-AFE848BFCD8D}">
      <dgm:prSet/>
      <dgm:spPr/>
      <dgm:t>
        <a:bodyPr/>
        <a:lstStyle/>
        <a:p>
          <a:endParaRPr lang="en-IN"/>
        </a:p>
      </dgm:t>
    </dgm:pt>
    <dgm:pt modelId="{F4E407F1-8CC3-4D5D-BA0B-366E4D0D1DB1}" type="sibTrans" cxnId="{F7391878-46C4-464D-827E-AFE848BFCD8D}">
      <dgm:prSet/>
      <dgm:spPr/>
      <dgm:t>
        <a:bodyPr/>
        <a:lstStyle/>
        <a:p>
          <a:endParaRPr lang="en-IN"/>
        </a:p>
      </dgm:t>
    </dgm:pt>
    <dgm:pt modelId="{1B387957-D696-4B69-B7AC-69978D054B1A}">
      <dgm:prSet phldrT="[Text]"/>
      <dgm:spPr/>
      <dgm:t>
        <a:bodyPr/>
        <a:lstStyle/>
        <a:p>
          <a:r>
            <a:rPr lang="en-IN" dirty="0">
              <a:latin typeface="Arial" panose="020B0604020202020204" pitchFamily="34" charset="0"/>
              <a:cs typeface="Arial" panose="020B0604020202020204" pitchFamily="34" charset="0"/>
            </a:rPr>
            <a:t>#Analytics as culture</a:t>
          </a:r>
        </a:p>
      </dgm:t>
    </dgm:pt>
    <dgm:pt modelId="{C374A3F1-55C3-4031-BE88-7A8A3BC2CA7F}" type="parTrans" cxnId="{F0B211EF-5626-47F4-B3F7-B53597744B03}">
      <dgm:prSet/>
      <dgm:spPr/>
      <dgm:t>
        <a:bodyPr/>
        <a:lstStyle/>
        <a:p>
          <a:endParaRPr lang="en-IN"/>
        </a:p>
      </dgm:t>
    </dgm:pt>
    <dgm:pt modelId="{18F08C9F-EE94-478E-A620-D03FFC082966}" type="sibTrans" cxnId="{F0B211EF-5626-47F4-B3F7-B53597744B03}">
      <dgm:prSet/>
      <dgm:spPr/>
      <dgm:t>
        <a:bodyPr/>
        <a:lstStyle/>
        <a:p>
          <a:endParaRPr lang="en-IN"/>
        </a:p>
      </dgm:t>
    </dgm:pt>
    <dgm:pt modelId="{D4BB07CC-D58D-4F4F-B81D-E395EFBA88AB}">
      <dgm:prSet phldrT="[Text]"/>
      <dgm:spPr/>
      <dgm:t>
        <a:bodyPr/>
        <a:lstStyle/>
        <a:p>
          <a:r>
            <a:rPr lang="en-IN" dirty="0">
              <a:latin typeface="Arial" panose="020B0604020202020204" pitchFamily="34" charset="0"/>
              <a:cs typeface="Arial" panose="020B0604020202020204" pitchFamily="34" charset="0"/>
            </a:rPr>
            <a:t>Talent acquisition and retainment</a:t>
          </a:r>
        </a:p>
      </dgm:t>
    </dgm:pt>
    <dgm:pt modelId="{B6FB98B2-87D3-4C93-B1AE-5345F4BCCE85}" type="parTrans" cxnId="{6488F430-EBC2-4C2A-A549-43AF71385AAD}">
      <dgm:prSet/>
      <dgm:spPr/>
      <dgm:t>
        <a:bodyPr/>
        <a:lstStyle/>
        <a:p>
          <a:endParaRPr lang="en-IN"/>
        </a:p>
      </dgm:t>
    </dgm:pt>
    <dgm:pt modelId="{013EFC73-345E-40C4-8CFF-B85C7607DF09}" type="sibTrans" cxnId="{6488F430-EBC2-4C2A-A549-43AF71385AAD}">
      <dgm:prSet/>
      <dgm:spPr/>
      <dgm:t>
        <a:bodyPr/>
        <a:lstStyle/>
        <a:p>
          <a:endParaRPr lang="en-IN"/>
        </a:p>
      </dgm:t>
    </dgm:pt>
    <dgm:pt modelId="{A5F8FA57-7B19-45A6-8C8B-3927EF11C00E}">
      <dgm:prSet phldrT="[Text]"/>
      <dgm:spPr/>
      <dgm:t>
        <a:bodyPr/>
        <a:lstStyle/>
        <a:p>
          <a:r>
            <a:rPr lang="en-IN" dirty="0">
              <a:latin typeface="Arial" panose="020B0604020202020204" pitchFamily="34" charset="0"/>
              <a:cs typeface="Arial" panose="020B0604020202020204" pitchFamily="34" charset="0"/>
            </a:rPr>
            <a:t>Real/Near real time analysis</a:t>
          </a:r>
        </a:p>
      </dgm:t>
    </dgm:pt>
    <dgm:pt modelId="{F939D727-D4D6-4E8A-BE61-5C760DB00FD8}" type="parTrans" cxnId="{054F2037-2A6D-4395-B70B-52B1BE2C8B72}">
      <dgm:prSet/>
      <dgm:spPr/>
      <dgm:t>
        <a:bodyPr/>
        <a:lstStyle/>
        <a:p>
          <a:endParaRPr lang="en-IN"/>
        </a:p>
      </dgm:t>
    </dgm:pt>
    <dgm:pt modelId="{B76831CC-5B46-4F06-9353-483DACE250D2}" type="sibTrans" cxnId="{054F2037-2A6D-4395-B70B-52B1BE2C8B72}">
      <dgm:prSet/>
      <dgm:spPr/>
      <dgm:t>
        <a:bodyPr/>
        <a:lstStyle/>
        <a:p>
          <a:endParaRPr lang="en-IN"/>
        </a:p>
      </dgm:t>
    </dgm:pt>
    <dgm:pt modelId="{A7D6D814-4F67-4FD7-91C2-B09B5276FF35}">
      <dgm:prSet phldrT="[Text]"/>
      <dgm:spPr/>
      <dgm:t>
        <a:bodyPr/>
        <a:lstStyle/>
        <a:p>
          <a:r>
            <a:rPr lang="en-IN" dirty="0">
              <a:latin typeface="Arial" panose="020B0604020202020204" pitchFamily="34" charset="0"/>
              <a:cs typeface="Arial" panose="020B0604020202020204" pitchFamily="34" charset="0"/>
            </a:rPr>
            <a:t>Action rather than just insights</a:t>
          </a:r>
        </a:p>
      </dgm:t>
    </dgm:pt>
    <dgm:pt modelId="{44F7428C-7AE6-4678-8388-AD749120A8DA}" type="parTrans" cxnId="{757FCA05-86FB-4F08-93DB-5A32EF6A4259}">
      <dgm:prSet/>
      <dgm:spPr/>
      <dgm:t>
        <a:bodyPr/>
        <a:lstStyle/>
        <a:p>
          <a:endParaRPr lang="en-IN"/>
        </a:p>
      </dgm:t>
    </dgm:pt>
    <dgm:pt modelId="{96978282-07B9-4191-ADF0-3794E07455AA}" type="sibTrans" cxnId="{757FCA05-86FB-4F08-93DB-5A32EF6A4259}">
      <dgm:prSet/>
      <dgm:spPr/>
      <dgm:t>
        <a:bodyPr/>
        <a:lstStyle/>
        <a:p>
          <a:endParaRPr lang="en-IN"/>
        </a:p>
      </dgm:t>
    </dgm:pt>
    <dgm:pt modelId="{475A93B7-2DF8-431C-9EB1-400BB65ABE2A}" type="pres">
      <dgm:prSet presAssocID="{282A2C6D-DCEF-4C91-B61B-D626FC97780C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AFABEFD-A984-4BD3-AF53-D81DD44024A1}" type="pres">
      <dgm:prSet presAssocID="{61685736-2C12-4CEA-A6A1-A5836EEF39B6}" presName="root" presStyleCnt="0"/>
      <dgm:spPr/>
    </dgm:pt>
    <dgm:pt modelId="{892DAE28-53E6-4392-A8D2-1FA6EEC9C6FD}" type="pres">
      <dgm:prSet presAssocID="{61685736-2C12-4CEA-A6A1-A5836EEF39B6}" presName="rootComposite" presStyleCnt="0"/>
      <dgm:spPr/>
    </dgm:pt>
    <dgm:pt modelId="{92C53410-2B4C-476D-BA7C-6A20281B9D7F}" type="pres">
      <dgm:prSet presAssocID="{61685736-2C12-4CEA-A6A1-A5836EEF39B6}" presName="rootText" presStyleLbl="node1" presStyleIdx="0" presStyleCnt="4"/>
      <dgm:spPr/>
    </dgm:pt>
    <dgm:pt modelId="{2FE13DA9-55EC-4C69-8F76-6AF27316674D}" type="pres">
      <dgm:prSet presAssocID="{61685736-2C12-4CEA-A6A1-A5836EEF39B6}" presName="rootConnector" presStyleLbl="node1" presStyleIdx="0" presStyleCnt="4"/>
      <dgm:spPr/>
    </dgm:pt>
    <dgm:pt modelId="{C2B7D605-FEC2-4CFB-A5DF-8CADB2907519}" type="pres">
      <dgm:prSet presAssocID="{61685736-2C12-4CEA-A6A1-A5836EEF39B6}" presName="childShape" presStyleCnt="0"/>
      <dgm:spPr/>
    </dgm:pt>
    <dgm:pt modelId="{B17C7465-EE44-4884-B540-D342E4E1BA37}" type="pres">
      <dgm:prSet presAssocID="{927CF41F-FF91-4313-B1E5-4B844C9ACB12}" presName="Name13" presStyleLbl="parChTrans1D2" presStyleIdx="0" presStyleCnt="12"/>
      <dgm:spPr/>
    </dgm:pt>
    <dgm:pt modelId="{1F1C535A-6488-4908-91A6-7D49AE8F737C}" type="pres">
      <dgm:prSet presAssocID="{3516D344-61DE-4C1E-AEA6-5594888D092B}" presName="childText" presStyleLbl="bgAcc1" presStyleIdx="0" presStyleCnt="12">
        <dgm:presLayoutVars>
          <dgm:bulletEnabled val="1"/>
        </dgm:presLayoutVars>
      </dgm:prSet>
      <dgm:spPr/>
    </dgm:pt>
    <dgm:pt modelId="{5F7F6A49-102A-417C-80AF-3F3774A02CE9}" type="pres">
      <dgm:prSet presAssocID="{154095F1-7489-492C-B568-1D36B75B659F}" presName="Name13" presStyleLbl="parChTrans1D2" presStyleIdx="1" presStyleCnt="12"/>
      <dgm:spPr/>
    </dgm:pt>
    <dgm:pt modelId="{E29CE25A-3445-4FCB-A7C8-1E0AD6B39954}" type="pres">
      <dgm:prSet presAssocID="{8183AD43-5CC5-41D2-AE45-89A4000EDF04}" presName="childText" presStyleLbl="bgAcc1" presStyleIdx="1" presStyleCnt="12">
        <dgm:presLayoutVars>
          <dgm:bulletEnabled val="1"/>
        </dgm:presLayoutVars>
      </dgm:prSet>
      <dgm:spPr/>
    </dgm:pt>
    <dgm:pt modelId="{07BE1FE4-FFBF-4053-8754-F8623D255E2E}" type="pres">
      <dgm:prSet presAssocID="{0F2E4080-5BB2-44C8-8A06-D6D991D4560F}" presName="Name13" presStyleLbl="parChTrans1D2" presStyleIdx="2" presStyleCnt="12"/>
      <dgm:spPr/>
    </dgm:pt>
    <dgm:pt modelId="{13D7C674-FA4B-4A22-9141-4F0AFA0442B4}" type="pres">
      <dgm:prSet presAssocID="{69A7657B-3FE8-4CA9-93C4-2FE3D1DC5892}" presName="childText" presStyleLbl="bgAcc1" presStyleIdx="2" presStyleCnt="12">
        <dgm:presLayoutVars>
          <dgm:bulletEnabled val="1"/>
        </dgm:presLayoutVars>
      </dgm:prSet>
      <dgm:spPr/>
    </dgm:pt>
    <dgm:pt modelId="{E627DDE6-1882-46F8-B5A4-0D8565978AF5}" type="pres">
      <dgm:prSet presAssocID="{14FA8FCC-A79F-46A1-9244-23523330EC19}" presName="root" presStyleCnt="0"/>
      <dgm:spPr/>
    </dgm:pt>
    <dgm:pt modelId="{8BDB42DB-17BF-4342-860E-0E9F72B3E512}" type="pres">
      <dgm:prSet presAssocID="{14FA8FCC-A79F-46A1-9244-23523330EC19}" presName="rootComposite" presStyleCnt="0"/>
      <dgm:spPr/>
    </dgm:pt>
    <dgm:pt modelId="{25D4E1C0-4D75-45ED-B4E3-A7F861A41677}" type="pres">
      <dgm:prSet presAssocID="{14FA8FCC-A79F-46A1-9244-23523330EC19}" presName="rootText" presStyleLbl="node1" presStyleIdx="1" presStyleCnt="4"/>
      <dgm:spPr/>
    </dgm:pt>
    <dgm:pt modelId="{0D7997DD-F495-4BF7-AAF7-C07880CE4DBB}" type="pres">
      <dgm:prSet presAssocID="{14FA8FCC-A79F-46A1-9244-23523330EC19}" presName="rootConnector" presStyleLbl="node1" presStyleIdx="1" presStyleCnt="4"/>
      <dgm:spPr/>
    </dgm:pt>
    <dgm:pt modelId="{D825280F-8091-44FB-B3C4-BF66D13314E5}" type="pres">
      <dgm:prSet presAssocID="{14FA8FCC-A79F-46A1-9244-23523330EC19}" presName="childShape" presStyleCnt="0"/>
      <dgm:spPr/>
    </dgm:pt>
    <dgm:pt modelId="{E441A1EC-590B-4C05-B0B9-ACECF37DAB97}" type="pres">
      <dgm:prSet presAssocID="{21F955DA-415A-4AE5-8054-ECDE24F9FA8A}" presName="Name13" presStyleLbl="parChTrans1D2" presStyleIdx="3" presStyleCnt="12"/>
      <dgm:spPr/>
    </dgm:pt>
    <dgm:pt modelId="{EA2BD35B-873F-4835-8AA5-0D09039E125B}" type="pres">
      <dgm:prSet presAssocID="{0C6FF75F-32A0-4D09-AC1D-3E3B63D74799}" presName="childText" presStyleLbl="bgAcc1" presStyleIdx="3" presStyleCnt="12">
        <dgm:presLayoutVars>
          <dgm:bulletEnabled val="1"/>
        </dgm:presLayoutVars>
      </dgm:prSet>
      <dgm:spPr/>
    </dgm:pt>
    <dgm:pt modelId="{08CB8B84-9B3B-4789-BB4A-DBA1A614EE73}" type="pres">
      <dgm:prSet presAssocID="{BEA558B3-6C9E-43D5-8776-776871EF7FBC}" presName="Name13" presStyleLbl="parChTrans1D2" presStyleIdx="4" presStyleCnt="12"/>
      <dgm:spPr/>
    </dgm:pt>
    <dgm:pt modelId="{EABFCFA8-339F-44F3-A44F-6D156C176190}" type="pres">
      <dgm:prSet presAssocID="{0E8DE8DA-5967-4A2C-9F0C-D24E77F3A2E0}" presName="childText" presStyleLbl="bgAcc1" presStyleIdx="4" presStyleCnt="12">
        <dgm:presLayoutVars>
          <dgm:bulletEnabled val="1"/>
        </dgm:presLayoutVars>
      </dgm:prSet>
      <dgm:spPr/>
    </dgm:pt>
    <dgm:pt modelId="{745800F2-9DF3-4428-BC07-EEC80967F31E}" type="pres">
      <dgm:prSet presAssocID="{168B0E41-B35D-46FE-B935-C177F952DDA8}" presName="Name13" presStyleLbl="parChTrans1D2" presStyleIdx="5" presStyleCnt="12"/>
      <dgm:spPr/>
    </dgm:pt>
    <dgm:pt modelId="{56FC442E-9F8A-4825-AEA5-D53EFC6B084F}" type="pres">
      <dgm:prSet presAssocID="{A4F32692-A39C-447B-99B0-E2AAF4D2B1F1}" presName="childText" presStyleLbl="bgAcc1" presStyleIdx="5" presStyleCnt="12">
        <dgm:presLayoutVars>
          <dgm:bulletEnabled val="1"/>
        </dgm:presLayoutVars>
      </dgm:prSet>
      <dgm:spPr/>
    </dgm:pt>
    <dgm:pt modelId="{F6A68B63-32C6-4E6A-9CA4-A78F1F48759A}" type="pres">
      <dgm:prSet presAssocID="{788F2382-90E6-4DFF-8F73-FF3DB72C949D}" presName="root" presStyleCnt="0"/>
      <dgm:spPr/>
    </dgm:pt>
    <dgm:pt modelId="{D07A26DC-6793-4CBC-8FC4-F6154CC7B495}" type="pres">
      <dgm:prSet presAssocID="{788F2382-90E6-4DFF-8F73-FF3DB72C949D}" presName="rootComposite" presStyleCnt="0"/>
      <dgm:spPr/>
    </dgm:pt>
    <dgm:pt modelId="{7A2F1350-8246-4E57-96D7-196DAB751312}" type="pres">
      <dgm:prSet presAssocID="{788F2382-90E6-4DFF-8F73-FF3DB72C949D}" presName="rootText" presStyleLbl="node1" presStyleIdx="2" presStyleCnt="4"/>
      <dgm:spPr/>
    </dgm:pt>
    <dgm:pt modelId="{56F7FE2A-9A7E-4CA1-8E08-C62D9BD19675}" type="pres">
      <dgm:prSet presAssocID="{788F2382-90E6-4DFF-8F73-FF3DB72C949D}" presName="rootConnector" presStyleLbl="node1" presStyleIdx="2" presStyleCnt="4"/>
      <dgm:spPr/>
    </dgm:pt>
    <dgm:pt modelId="{44FE68B7-0248-412E-A538-D2F1E234AE76}" type="pres">
      <dgm:prSet presAssocID="{788F2382-90E6-4DFF-8F73-FF3DB72C949D}" presName="childShape" presStyleCnt="0"/>
      <dgm:spPr/>
    </dgm:pt>
    <dgm:pt modelId="{CFD9ADCE-7C16-4865-B42D-0BEEBD94FA8B}" type="pres">
      <dgm:prSet presAssocID="{3052DA39-23D9-4ED9-BEFD-61C609DF9A12}" presName="Name13" presStyleLbl="parChTrans1D2" presStyleIdx="6" presStyleCnt="12"/>
      <dgm:spPr/>
    </dgm:pt>
    <dgm:pt modelId="{3DC52371-4B8A-4EDB-A4B3-56190C20A068}" type="pres">
      <dgm:prSet presAssocID="{AAF87B47-5C5E-4B3A-A94B-17C749D75825}" presName="childText" presStyleLbl="bgAcc1" presStyleIdx="6" presStyleCnt="12">
        <dgm:presLayoutVars>
          <dgm:bulletEnabled val="1"/>
        </dgm:presLayoutVars>
      </dgm:prSet>
      <dgm:spPr/>
    </dgm:pt>
    <dgm:pt modelId="{F556C1D5-CE01-4C88-AA9E-D187A6F07C76}" type="pres">
      <dgm:prSet presAssocID="{F939D727-D4D6-4E8A-BE61-5C760DB00FD8}" presName="Name13" presStyleLbl="parChTrans1D2" presStyleIdx="7" presStyleCnt="12"/>
      <dgm:spPr/>
    </dgm:pt>
    <dgm:pt modelId="{A7755D81-F3E8-4965-BB87-6950C85B81CD}" type="pres">
      <dgm:prSet presAssocID="{A5F8FA57-7B19-45A6-8C8B-3927EF11C00E}" presName="childText" presStyleLbl="bgAcc1" presStyleIdx="7" presStyleCnt="12">
        <dgm:presLayoutVars>
          <dgm:bulletEnabled val="1"/>
        </dgm:presLayoutVars>
      </dgm:prSet>
      <dgm:spPr/>
    </dgm:pt>
    <dgm:pt modelId="{BBB71A05-14D9-4A05-8CCE-33800B523CF6}" type="pres">
      <dgm:prSet presAssocID="{44F7428C-7AE6-4678-8388-AD749120A8DA}" presName="Name13" presStyleLbl="parChTrans1D2" presStyleIdx="8" presStyleCnt="12"/>
      <dgm:spPr/>
    </dgm:pt>
    <dgm:pt modelId="{CF00A9B7-2B31-444E-B759-7BE3F55145D7}" type="pres">
      <dgm:prSet presAssocID="{A7D6D814-4F67-4FD7-91C2-B09B5276FF35}" presName="childText" presStyleLbl="bgAcc1" presStyleIdx="8" presStyleCnt="12">
        <dgm:presLayoutVars>
          <dgm:bulletEnabled val="1"/>
        </dgm:presLayoutVars>
      </dgm:prSet>
      <dgm:spPr/>
    </dgm:pt>
    <dgm:pt modelId="{3F596C6A-55D8-4ED7-ACAF-25F896217A02}" type="pres">
      <dgm:prSet presAssocID="{F57D577D-3E4C-408E-8928-0B76A50615BE}" presName="root" presStyleCnt="0"/>
      <dgm:spPr/>
    </dgm:pt>
    <dgm:pt modelId="{16178FB8-049C-45F3-A99E-35385D747412}" type="pres">
      <dgm:prSet presAssocID="{F57D577D-3E4C-408E-8928-0B76A50615BE}" presName="rootComposite" presStyleCnt="0"/>
      <dgm:spPr/>
    </dgm:pt>
    <dgm:pt modelId="{91623385-FFA0-4C44-A918-F55C6C679EA2}" type="pres">
      <dgm:prSet presAssocID="{F57D577D-3E4C-408E-8928-0B76A50615BE}" presName="rootText" presStyleLbl="node1" presStyleIdx="3" presStyleCnt="4"/>
      <dgm:spPr/>
    </dgm:pt>
    <dgm:pt modelId="{93A5EA50-6A93-43F5-B4FB-F12D2B36863D}" type="pres">
      <dgm:prSet presAssocID="{F57D577D-3E4C-408E-8928-0B76A50615BE}" presName="rootConnector" presStyleLbl="node1" presStyleIdx="3" presStyleCnt="4"/>
      <dgm:spPr/>
    </dgm:pt>
    <dgm:pt modelId="{DA3D2D54-7AFD-49A1-863A-2F4237E1A3AD}" type="pres">
      <dgm:prSet presAssocID="{F57D577D-3E4C-408E-8928-0B76A50615BE}" presName="childShape" presStyleCnt="0"/>
      <dgm:spPr/>
    </dgm:pt>
    <dgm:pt modelId="{CBD59229-9E12-4765-BD0C-14D1CCC714DC}" type="pres">
      <dgm:prSet presAssocID="{8C8F4E58-405D-4718-824A-C518E0A6186B}" presName="Name13" presStyleLbl="parChTrans1D2" presStyleIdx="9" presStyleCnt="12"/>
      <dgm:spPr/>
    </dgm:pt>
    <dgm:pt modelId="{84210D65-24BC-4F74-B2EE-0BFD65CCD142}" type="pres">
      <dgm:prSet presAssocID="{A4C18D87-57A0-49C8-AEC3-19F0B90FDED8}" presName="childText" presStyleLbl="bgAcc1" presStyleIdx="9" presStyleCnt="12">
        <dgm:presLayoutVars>
          <dgm:bulletEnabled val="1"/>
        </dgm:presLayoutVars>
      </dgm:prSet>
      <dgm:spPr/>
    </dgm:pt>
    <dgm:pt modelId="{9A888E11-E3C5-4EEA-A5E0-3D8782AA70BF}" type="pres">
      <dgm:prSet presAssocID="{C374A3F1-55C3-4031-BE88-7A8A3BC2CA7F}" presName="Name13" presStyleLbl="parChTrans1D2" presStyleIdx="10" presStyleCnt="12"/>
      <dgm:spPr/>
    </dgm:pt>
    <dgm:pt modelId="{08FA7A3E-A751-4609-962C-40D9CEA2BD27}" type="pres">
      <dgm:prSet presAssocID="{1B387957-D696-4B69-B7AC-69978D054B1A}" presName="childText" presStyleLbl="bgAcc1" presStyleIdx="10" presStyleCnt="12">
        <dgm:presLayoutVars>
          <dgm:bulletEnabled val="1"/>
        </dgm:presLayoutVars>
      </dgm:prSet>
      <dgm:spPr/>
    </dgm:pt>
    <dgm:pt modelId="{7D087C9C-06D4-4139-B760-84397350B8EF}" type="pres">
      <dgm:prSet presAssocID="{B6FB98B2-87D3-4C93-B1AE-5345F4BCCE85}" presName="Name13" presStyleLbl="parChTrans1D2" presStyleIdx="11" presStyleCnt="12"/>
      <dgm:spPr/>
    </dgm:pt>
    <dgm:pt modelId="{916AC3B3-16D0-493D-9968-5575271B9A47}" type="pres">
      <dgm:prSet presAssocID="{D4BB07CC-D58D-4F4F-B81D-E395EFBA88AB}" presName="childText" presStyleLbl="bgAcc1" presStyleIdx="11" presStyleCnt="12">
        <dgm:presLayoutVars>
          <dgm:bulletEnabled val="1"/>
        </dgm:presLayoutVars>
      </dgm:prSet>
      <dgm:spPr/>
    </dgm:pt>
  </dgm:ptLst>
  <dgm:cxnLst>
    <dgm:cxn modelId="{757FCA05-86FB-4F08-93DB-5A32EF6A4259}" srcId="{788F2382-90E6-4DFF-8F73-FF3DB72C949D}" destId="{A7D6D814-4F67-4FD7-91C2-B09B5276FF35}" srcOrd="2" destOrd="0" parTransId="{44F7428C-7AE6-4678-8388-AD749120A8DA}" sibTransId="{96978282-07B9-4191-ADF0-3794E07455AA}"/>
    <dgm:cxn modelId="{1EB23409-A679-426D-8223-B23F0EAD5131}" type="presOf" srcId="{0E8DE8DA-5967-4A2C-9F0C-D24E77F3A2E0}" destId="{EABFCFA8-339F-44F3-A44F-6D156C176190}" srcOrd="0" destOrd="0" presId="urn:microsoft.com/office/officeart/2005/8/layout/hierarchy3"/>
    <dgm:cxn modelId="{41D5D70E-A54D-437C-8C75-30ACAE9BF03A}" srcId="{61685736-2C12-4CEA-A6A1-A5836EEF39B6}" destId="{8183AD43-5CC5-41D2-AE45-89A4000EDF04}" srcOrd="1" destOrd="0" parTransId="{154095F1-7489-492C-B568-1D36B75B659F}" sibTransId="{E8E8FB8E-2A26-47C5-A47C-0764CD6336F2}"/>
    <dgm:cxn modelId="{AC7E7410-87CD-4646-BC8D-6D45F46C5A5A}" srcId="{14FA8FCC-A79F-46A1-9244-23523330EC19}" destId="{0C6FF75F-32A0-4D09-AC1D-3E3B63D74799}" srcOrd="0" destOrd="0" parTransId="{21F955DA-415A-4AE5-8054-ECDE24F9FA8A}" sibTransId="{005F73A4-F41A-470A-9969-8BC5D094789E}"/>
    <dgm:cxn modelId="{8DD00411-0AB2-4001-8071-28F47970FEF6}" type="presOf" srcId="{3516D344-61DE-4C1E-AEA6-5594888D092B}" destId="{1F1C535A-6488-4908-91A6-7D49AE8F737C}" srcOrd="0" destOrd="0" presId="urn:microsoft.com/office/officeart/2005/8/layout/hierarchy3"/>
    <dgm:cxn modelId="{A4BE9D19-2224-4AC7-BEA6-45005FCA3E16}" type="presOf" srcId="{A4F32692-A39C-447B-99B0-E2AAF4D2B1F1}" destId="{56FC442E-9F8A-4825-AEA5-D53EFC6B084F}" srcOrd="0" destOrd="0" presId="urn:microsoft.com/office/officeart/2005/8/layout/hierarchy3"/>
    <dgm:cxn modelId="{E420161C-7BCD-48F1-8329-D998802FA619}" srcId="{788F2382-90E6-4DFF-8F73-FF3DB72C949D}" destId="{AAF87B47-5C5E-4B3A-A94B-17C749D75825}" srcOrd="0" destOrd="0" parTransId="{3052DA39-23D9-4ED9-BEFD-61C609DF9A12}" sibTransId="{B6C4DC3C-D80D-4EE2-848A-C8F42AEE360E}"/>
    <dgm:cxn modelId="{E2390320-FAD7-43F5-B54F-4518A9E5428F}" type="presOf" srcId="{21F955DA-415A-4AE5-8054-ECDE24F9FA8A}" destId="{E441A1EC-590B-4C05-B0B9-ACECF37DAB97}" srcOrd="0" destOrd="0" presId="urn:microsoft.com/office/officeart/2005/8/layout/hierarchy3"/>
    <dgm:cxn modelId="{14616721-B2B2-4F05-B6FC-3ADE794EC772}" srcId="{282A2C6D-DCEF-4C91-B61B-D626FC97780C}" destId="{61685736-2C12-4CEA-A6A1-A5836EEF39B6}" srcOrd="0" destOrd="0" parTransId="{CFB1C483-260A-423E-A712-2661C5252DFC}" sibTransId="{8EF4756E-5893-4300-97FA-84E200ED2097}"/>
    <dgm:cxn modelId="{F15F7421-E10D-466E-88F3-B1806D971E7F}" type="presOf" srcId="{168B0E41-B35D-46FE-B935-C177F952DDA8}" destId="{745800F2-9DF3-4428-BC07-EEC80967F31E}" srcOrd="0" destOrd="0" presId="urn:microsoft.com/office/officeart/2005/8/layout/hierarchy3"/>
    <dgm:cxn modelId="{5E21D221-C2E1-4C2A-B505-EE07EAF9E2CA}" srcId="{282A2C6D-DCEF-4C91-B61B-D626FC97780C}" destId="{F57D577D-3E4C-408E-8928-0B76A50615BE}" srcOrd="3" destOrd="0" parTransId="{A35ADA0F-050C-4DFA-AFEB-F4B88C1C3883}" sibTransId="{35C734B1-9FE5-4DB4-B973-09486A061544}"/>
    <dgm:cxn modelId="{9DC02A22-AAEF-4D6B-B800-41DE1F834C12}" type="presOf" srcId="{8C8F4E58-405D-4718-824A-C518E0A6186B}" destId="{CBD59229-9E12-4765-BD0C-14D1CCC714DC}" srcOrd="0" destOrd="0" presId="urn:microsoft.com/office/officeart/2005/8/layout/hierarchy3"/>
    <dgm:cxn modelId="{62353022-C277-46C8-999E-7031A71A8369}" type="presOf" srcId="{F57D577D-3E4C-408E-8928-0B76A50615BE}" destId="{93A5EA50-6A93-43F5-B4FB-F12D2B36863D}" srcOrd="1" destOrd="0" presId="urn:microsoft.com/office/officeart/2005/8/layout/hierarchy3"/>
    <dgm:cxn modelId="{BC23EE22-CC19-49BD-85F6-11E5A5D3FB6D}" type="presOf" srcId="{61685736-2C12-4CEA-A6A1-A5836EEF39B6}" destId="{92C53410-2B4C-476D-BA7C-6A20281B9D7F}" srcOrd="0" destOrd="0" presId="urn:microsoft.com/office/officeart/2005/8/layout/hierarchy3"/>
    <dgm:cxn modelId="{5D4ACF2F-2E42-4703-90F7-ED631C28B7FF}" type="presOf" srcId="{0F2E4080-5BB2-44C8-8A06-D6D991D4560F}" destId="{07BE1FE4-FFBF-4053-8754-F8623D255E2E}" srcOrd="0" destOrd="0" presId="urn:microsoft.com/office/officeart/2005/8/layout/hierarchy3"/>
    <dgm:cxn modelId="{6488F430-EBC2-4C2A-A549-43AF71385AAD}" srcId="{F57D577D-3E4C-408E-8928-0B76A50615BE}" destId="{D4BB07CC-D58D-4F4F-B81D-E395EFBA88AB}" srcOrd="2" destOrd="0" parTransId="{B6FB98B2-87D3-4C93-B1AE-5345F4BCCE85}" sibTransId="{013EFC73-345E-40C4-8CFF-B85C7607DF09}"/>
    <dgm:cxn modelId="{E97EB835-C8B2-4F8F-88E0-CB92EC3118FF}" srcId="{282A2C6D-DCEF-4C91-B61B-D626FC97780C}" destId="{788F2382-90E6-4DFF-8F73-FF3DB72C949D}" srcOrd="2" destOrd="0" parTransId="{066CE864-8022-4AFA-8AA1-50D28A824C4C}" sibTransId="{A99BE60D-A0DE-4A3E-AB30-4FC7D3A58550}"/>
    <dgm:cxn modelId="{054F2037-2A6D-4395-B70B-52B1BE2C8B72}" srcId="{788F2382-90E6-4DFF-8F73-FF3DB72C949D}" destId="{A5F8FA57-7B19-45A6-8C8B-3927EF11C00E}" srcOrd="1" destOrd="0" parTransId="{F939D727-D4D6-4E8A-BE61-5C760DB00FD8}" sibTransId="{B76831CC-5B46-4F06-9353-483DACE250D2}"/>
    <dgm:cxn modelId="{31E9E85C-9B46-4DF2-9F0B-0AEF8B860E34}" srcId="{14FA8FCC-A79F-46A1-9244-23523330EC19}" destId="{0E8DE8DA-5967-4A2C-9F0C-D24E77F3A2E0}" srcOrd="1" destOrd="0" parTransId="{BEA558B3-6C9E-43D5-8776-776871EF7FBC}" sibTransId="{FC9BEBAF-E2FD-469B-902A-F7B350CBB3DF}"/>
    <dgm:cxn modelId="{99360162-7E3C-4B6D-B7B7-5021B34ED121}" type="presOf" srcId="{C374A3F1-55C3-4031-BE88-7A8A3BC2CA7F}" destId="{9A888E11-E3C5-4EEA-A5E0-3D8782AA70BF}" srcOrd="0" destOrd="0" presId="urn:microsoft.com/office/officeart/2005/8/layout/hierarchy3"/>
    <dgm:cxn modelId="{EBF9C562-315C-4748-8A4C-35F810C02AB6}" type="presOf" srcId="{282A2C6D-DCEF-4C91-B61B-D626FC97780C}" destId="{475A93B7-2DF8-431C-9EB1-400BB65ABE2A}" srcOrd="0" destOrd="0" presId="urn:microsoft.com/office/officeart/2005/8/layout/hierarchy3"/>
    <dgm:cxn modelId="{944C4247-FDE9-4B87-AD44-3E6DABB1A651}" srcId="{282A2C6D-DCEF-4C91-B61B-D626FC97780C}" destId="{14FA8FCC-A79F-46A1-9244-23523330EC19}" srcOrd="1" destOrd="0" parTransId="{D7A2714A-D63F-44C2-B768-C41A88EDF0DD}" sibTransId="{AD57D27A-ACF4-47B3-B3CA-B9C090FC24C9}"/>
    <dgm:cxn modelId="{18020C71-7784-4519-846F-D4D91C56925C}" type="presOf" srcId="{788F2382-90E6-4DFF-8F73-FF3DB72C949D}" destId="{7A2F1350-8246-4E57-96D7-196DAB751312}" srcOrd="0" destOrd="0" presId="urn:microsoft.com/office/officeart/2005/8/layout/hierarchy3"/>
    <dgm:cxn modelId="{66982D71-F344-4DC2-AE09-09597232B92E}" type="presOf" srcId="{69A7657B-3FE8-4CA9-93C4-2FE3D1DC5892}" destId="{13D7C674-FA4B-4A22-9141-4F0AFA0442B4}" srcOrd="0" destOrd="0" presId="urn:microsoft.com/office/officeart/2005/8/layout/hierarchy3"/>
    <dgm:cxn modelId="{F7391878-46C4-464D-827E-AFE848BFCD8D}" srcId="{14FA8FCC-A79F-46A1-9244-23523330EC19}" destId="{A4F32692-A39C-447B-99B0-E2AAF4D2B1F1}" srcOrd="2" destOrd="0" parTransId="{168B0E41-B35D-46FE-B935-C177F952DDA8}" sibTransId="{F4E407F1-8CC3-4D5D-BA0B-366E4D0D1DB1}"/>
    <dgm:cxn modelId="{1A80377B-66A6-4BA3-8889-A5C08A738BBD}" srcId="{61685736-2C12-4CEA-A6A1-A5836EEF39B6}" destId="{69A7657B-3FE8-4CA9-93C4-2FE3D1DC5892}" srcOrd="2" destOrd="0" parTransId="{0F2E4080-5BB2-44C8-8A06-D6D991D4560F}" sibTransId="{84970742-CB0C-4E45-ABB3-660371D8CB8E}"/>
    <dgm:cxn modelId="{C06E4D80-CC95-4187-B1E0-78748BC3386B}" type="presOf" srcId="{14FA8FCC-A79F-46A1-9244-23523330EC19}" destId="{0D7997DD-F495-4BF7-AAF7-C07880CE4DBB}" srcOrd="1" destOrd="0" presId="urn:microsoft.com/office/officeart/2005/8/layout/hierarchy3"/>
    <dgm:cxn modelId="{40CABC83-4A4F-4C67-8F81-FC9C10485E2C}" type="presOf" srcId="{927CF41F-FF91-4313-B1E5-4B844C9ACB12}" destId="{B17C7465-EE44-4884-B540-D342E4E1BA37}" srcOrd="0" destOrd="0" presId="urn:microsoft.com/office/officeart/2005/8/layout/hierarchy3"/>
    <dgm:cxn modelId="{69030987-62F1-402E-8A32-9A82D23E8904}" type="presOf" srcId="{D4BB07CC-D58D-4F4F-B81D-E395EFBA88AB}" destId="{916AC3B3-16D0-493D-9968-5575271B9A47}" srcOrd="0" destOrd="0" presId="urn:microsoft.com/office/officeart/2005/8/layout/hierarchy3"/>
    <dgm:cxn modelId="{54A6038B-6517-401B-B6DC-2DA7AE2A8242}" type="presOf" srcId="{8183AD43-5CC5-41D2-AE45-89A4000EDF04}" destId="{E29CE25A-3445-4FCB-A7C8-1E0AD6B39954}" srcOrd="0" destOrd="0" presId="urn:microsoft.com/office/officeart/2005/8/layout/hierarchy3"/>
    <dgm:cxn modelId="{CF821098-A9B9-414E-8E75-CAE2B64F11E4}" type="presOf" srcId="{A7D6D814-4F67-4FD7-91C2-B09B5276FF35}" destId="{CF00A9B7-2B31-444E-B759-7BE3F55145D7}" srcOrd="0" destOrd="0" presId="urn:microsoft.com/office/officeart/2005/8/layout/hierarchy3"/>
    <dgm:cxn modelId="{74F8639A-D9DC-4535-99CF-772C0AF47DF6}" type="presOf" srcId="{61685736-2C12-4CEA-A6A1-A5836EEF39B6}" destId="{2FE13DA9-55EC-4C69-8F76-6AF27316674D}" srcOrd="1" destOrd="0" presId="urn:microsoft.com/office/officeart/2005/8/layout/hierarchy3"/>
    <dgm:cxn modelId="{3349559A-A388-4DFD-9D6C-0202CDE8AFBE}" type="presOf" srcId="{A4C18D87-57A0-49C8-AEC3-19F0B90FDED8}" destId="{84210D65-24BC-4F74-B2EE-0BFD65CCD142}" srcOrd="0" destOrd="0" presId="urn:microsoft.com/office/officeart/2005/8/layout/hierarchy3"/>
    <dgm:cxn modelId="{53400DA1-F15A-4665-895C-19361FB9D980}" type="presOf" srcId="{F939D727-D4D6-4E8A-BE61-5C760DB00FD8}" destId="{F556C1D5-CE01-4C88-AA9E-D187A6F07C76}" srcOrd="0" destOrd="0" presId="urn:microsoft.com/office/officeart/2005/8/layout/hierarchy3"/>
    <dgm:cxn modelId="{1FECD4A6-F7E8-43C8-BE4B-ACF87BC0433F}" type="presOf" srcId="{14FA8FCC-A79F-46A1-9244-23523330EC19}" destId="{25D4E1C0-4D75-45ED-B4E3-A7F861A41677}" srcOrd="0" destOrd="0" presId="urn:microsoft.com/office/officeart/2005/8/layout/hierarchy3"/>
    <dgm:cxn modelId="{9A641AB1-508C-496F-BB7B-2A1652D90019}" type="presOf" srcId="{154095F1-7489-492C-B568-1D36B75B659F}" destId="{5F7F6A49-102A-417C-80AF-3F3774A02CE9}" srcOrd="0" destOrd="0" presId="urn:microsoft.com/office/officeart/2005/8/layout/hierarchy3"/>
    <dgm:cxn modelId="{E0286BB2-EB41-406F-BEFB-F4BF96C8C3E9}" type="presOf" srcId="{0C6FF75F-32A0-4D09-AC1D-3E3B63D74799}" destId="{EA2BD35B-873F-4835-8AA5-0D09039E125B}" srcOrd="0" destOrd="0" presId="urn:microsoft.com/office/officeart/2005/8/layout/hierarchy3"/>
    <dgm:cxn modelId="{5C729EB4-FD60-4B09-97AF-63D44070B076}" type="presOf" srcId="{F57D577D-3E4C-408E-8928-0B76A50615BE}" destId="{91623385-FFA0-4C44-A918-F55C6C679EA2}" srcOrd="0" destOrd="0" presId="urn:microsoft.com/office/officeart/2005/8/layout/hierarchy3"/>
    <dgm:cxn modelId="{9C048AB6-23FA-4880-AACD-BE2899FCD574}" type="presOf" srcId="{3052DA39-23D9-4ED9-BEFD-61C609DF9A12}" destId="{CFD9ADCE-7C16-4865-B42D-0BEEBD94FA8B}" srcOrd="0" destOrd="0" presId="urn:microsoft.com/office/officeart/2005/8/layout/hierarchy3"/>
    <dgm:cxn modelId="{3A664FC3-2885-4759-87D1-6B8D62E14428}" type="presOf" srcId="{A5F8FA57-7B19-45A6-8C8B-3927EF11C00E}" destId="{A7755D81-F3E8-4965-BB87-6950C85B81CD}" srcOrd="0" destOrd="0" presId="urn:microsoft.com/office/officeart/2005/8/layout/hierarchy3"/>
    <dgm:cxn modelId="{AA89BDD4-BEAA-46FC-8ABC-05EF43C0345C}" srcId="{61685736-2C12-4CEA-A6A1-A5836EEF39B6}" destId="{3516D344-61DE-4C1E-AEA6-5594888D092B}" srcOrd="0" destOrd="0" parTransId="{927CF41F-FF91-4313-B1E5-4B844C9ACB12}" sibTransId="{7540E0CE-8D21-4EF4-BC3D-B8EC4BE4F9AB}"/>
    <dgm:cxn modelId="{088528D5-5CFD-4B89-8180-EEB97963C858}" type="presOf" srcId="{788F2382-90E6-4DFF-8F73-FF3DB72C949D}" destId="{56F7FE2A-9A7E-4CA1-8E08-C62D9BD19675}" srcOrd="1" destOrd="0" presId="urn:microsoft.com/office/officeart/2005/8/layout/hierarchy3"/>
    <dgm:cxn modelId="{67FABBD7-ED23-4727-81DC-6E9963CD86F3}" type="presOf" srcId="{B6FB98B2-87D3-4C93-B1AE-5345F4BCCE85}" destId="{7D087C9C-06D4-4139-B760-84397350B8EF}" srcOrd="0" destOrd="0" presId="urn:microsoft.com/office/officeart/2005/8/layout/hierarchy3"/>
    <dgm:cxn modelId="{BC1CA7DA-435E-4EC9-B8A6-32F844D77DE4}" type="presOf" srcId="{44F7428C-7AE6-4678-8388-AD749120A8DA}" destId="{BBB71A05-14D9-4A05-8CCE-33800B523CF6}" srcOrd="0" destOrd="0" presId="urn:microsoft.com/office/officeart/2005/8/layout/hierarchy3"/>
    <dgm:cxn modelId="{5F0B8EE6-2FDE-4E9B-BB79-9E6D40CCDAFD}" srcId="{F57D577D-3E4C-408E-8928-0B76A50615BE}" destId="{A4C18D87-57A0-49C8-AEC3-19F0B90FDED8}" srcOrd="0" destOrd="0" parTransId="{8C8F4E58-405D-4718-824A-C518E0A6186B}" sibTransId="{8D0D456D-AD3D-4430-89C0-E9ED13F14069}"/>
    <dgm:cxn modelId="{F0B211EF-5626-47F4-B3F7-B53597744B03}" srcId="{F57D577D-3E4C-408E-8928-0B76A50615BE}" destId="{1B387957-D696-4B69-B7AC-69978D054B1A}" srcOrd="1" destOrd="0" parTransId="{C374A3F1-55C3-4031-BE88-7A8A3BC2CA7F}" sibTransId="{18F08C9F-EE94-478E-A620-D03FFC082966}"/>
    <dgm:cxn modelId="{DCCD52F0-6235-41F5-AB82-E431787BE14B}" type="presOf" srcId="{1B387957-D696-4B69-B7AC-69978D054B1A}" destId="{08FA7A3E-A751-4609-962C-40D9CEA2BD27}" srcOrd="0" destOrd="0" presId="urn:microsoft.com/office/officeart/2005/8/layout/hierarchy3"/>
    <dgm:cxn modelId="{D4F0D4F9-131B-424E-B475-007435B32775}" type="presOf" srcId="{AAF87B47-5C5E-4B3A-A94B-17C749D75825}" destId="{3DC52371-4B8A-4EDB-A4B3-56190C20A068}" srcOrd="0" destOrd="0" presId="urn:microsoft.com/office/officeart/2005/8/layout/hierarchy3"/>
    <dgm:cxn modelId="{EED4A4FB-821A-4E47-86D8-C7B03A42F759}" type="presOf" srcId="{BEA558B3-6C9E-43D5-8776-776871EF7FBC}" destId="{08CB8B84-9B3B-4789-BB4A-DBA1A614EE73}" srcOrd="0" destOrd="0" presId="urn:microsoft.com/office/officeart/2005/8/layout/hierarchy3"/>
    <dgm:cxn modelId="{17BBAAA4-D9FC-475E-A3DD-89DB014AC49E}" type="presParOf" srcId="{475A93B7-2DF8-431C-9EB1-400BB65ABE2A}" destId="{DAFABEFD-A984-4BD3-AF53-D81DD44024A1}" srcOrd="0" destOrd="0" presId="urn:microsoft.com/office/officeart/2005/8/layout/hierarchy3"/>
    <dgm:cxn modelId="{5F2F78A7-7B08-4FC6-90CF-BBABD066953B}" type="presParOf" srcId="{DAFABEFD-A984-4BD3-AF53-D81DD44024A1}" destId="{892DAE28-53E6-4392-A8D2-1FA6EEC9C6FD}" srcOrd="0" destOrd="0" presId="urn:microsoft.com/office/officeart/2005/8/layout/hierarchy3"/>
    <dgm:cxn modelId="{3BCDD07D-FF42-41C7-9B46-6A8FFB6CEA5D}" type="presParOf" srcId="{892DAE28-53E6-4392-A8D2-1FA6EEC9C6FD}" destId="{92C53410-2B4C-476D-BA7C-6A20281B9D7F}" srcOrd="0" destOrd="0" presId="urn:microsoft.com/office/officeart/2005/8/layout/hierarchy3"/>
    <dgm:cxn modelId="{67CF244F-DEA4-4FA5-81AC-8DCD4E331AC2}" type="presParOf" srcId="{892DAE28-53E6-4392-A8D2-1FA6EEC9C6FD}" destId="{2FE13DA9-55EC-4C69-8F76-6AF27316674D}" srcOrd="1" destOrd="0" presId="urn:microsoft.com/office/officeart/2005/8/layout/hierarchy3"/>
    <dgm:cxn modelId="{7F16BDA0-F174-482B-A2EA-2BA2C5D4AD20}" type="presParOf" srcId="{DAFABEFD-A984-4BD3-AF53-D81DD44024A1}" destId="{C2B7D605-FEC2-4CFB-A5DF-8CADB2907519}" srcOrd="1" destOrd="0" presId="urn:microsoft.com/office/officeart/2005/8/layout/hierarchy3"/>
    <dgm:cxn modelId="{A60D49EF-4B5E-47DA-AE62-BCE8B924A54F}" type="presParOf" srcId="{C2B7D605-FEC2-4CFB-A5DF-8CADB2907519}" destId="{B17C7465-EE44-4884-B540-D342E4E1BA37}" srcOrd="0" destOrd="0" presId="urn:microsoft.com/office/officeart/2005/8/layout/hierarchy3"/>
    <dgm:cxn modelId="{77908382-2672-47D5-BA1C-47E45E06903B}" type="presParOf" srcId="{C2B7D605-FEC2-4CFB-A5DF-8CADB2907519}" destId="{1F1C535A-6488-4908-91A6-7D49AE8F737C}" srcOrd="1" destOrd="0" presId="urn:microsoft.com/office/officeart/2005/8/layout/hierarchy3"/>
    <dgm:cxn modelId="{910AB2B7-9914-48B7-97A0-204B1DC82EE3}" type="presParOf" srcId="{C2B7D605-FEC2-4CFB-A5DF-8CADB2907519}" destId="{5F7F6A49-102A-417C-80AF-3F3774A02CE9}" srcOrd="2" destOrd="0" presId="urn:microsoft.com/office/officeart/2005/8/layout/hierarchy3"/>
    <dgm:cxn modelId="{AA568B20-9BF3-46C6-A00B-E6ABB756164F}" type="presParOf" srcId="{C2B7D605-FEC2-4CFB-A5DF-8CADB2907519}" destId="{E29CE25A-3445-4FCB-A7C8-1E0AD6B39954}" srcOrd="3" destOrd="0" presId="urn:microsoft.com/office/officeart/2005/8/layout/hierarchy3"/>
    <dgm:cxn modelId="{1A78FF51-1D45-4BE8-8E26-BD7C2EBF090A}" type="presParOf" srcId="{C2B7D605-FEC2-4CFB-A5DF-8CADB2907519}" destId="{07BE1FE4-FFBF-4053-8754-F8623D255E2E}" srcOrd="4" destOrd="0" presId="urn:microsoft.com/office/officeart/2005/8/layout/hierarchy3"/>
    <dgm:cxn modelId="{8E5B9561-CD6C-40B4-A032-DF19C2916738}" type="presParOf" srcId="{C2B7D605-FEC2-4CFB-A5DF-8CADB2907519}" destId="{13D7C674-FA4B-4A22-9141-4F0AFA0442B4}" srcOrd="5" destOrd="0" presId="urn:microsoft.com/office/officeart/2005/8/layout/hierarchy3"/>
    <dgm:cxn modelId="{9A80EAF7-725F-4308-AC67-F5D8AC0E4521}" type="presParOf" srcId="{475A93B7-2DF8-431C-9EB1-400BB65ABE2A}" destId="{E627DDE6-1882-46F8-B5A4-0D8565978AF5}" srcOrd="1" destOrd="0" presId="urn:microsoft.com/office/officeart/2005/8/layout/hierarchy3"/>
    <dgm:cxn modelId="{7152B5B4-FD76-4742-BDCE-020842F87695}" type="presParOf" srcId="{E627DDE6-1882-46F8-B5A4-0D8565978AF5}" destId="{8BDB42DB-17BF-4342-860E-0E9F72B3E512}" srcOrd="0" destOrd="0" presId="urn:microsoft.com/office/officeart/2005/8/layout/hierarchy3"/>
    <dgm:cxn modelId="{1C713467-798E-478A-A567-755FF62AFFB3}" type="presParOf" srcId="{8BDB42DB-17BF-4342-860E-0E9F72B3E512}" destId="{25D4E1C0-4D75-45ED-B4E3-A7F861A41677}" srcOrd="0" destOrd="0" presId="urn:microsoft.com/office/officeart/2005/8/layout/hierarchy3"/>
    <dgm:cxn modelId="{738BDACB-1C90-4F9E-A170-63A2A2088A32}" type="presParOf" srcId="{8BDB42DB-17BF-4342-860E-0E9F72B3E512}" destId="{0D7997DD-F495-4BF7-AAF7-C07880CE4DBB}" srcOrd="1" destOrd="0" presId="urn:microsoft.com/office/officeart/2005/8/layout/hierarchy3"/>
    <dgm:cxn modelId="{A33B12BD-0198-4C13-9685-CB74C9DF5796}" type="presParOf" srcId="{E627DDE6-1882-46F8-B5A4-0D8565978AF5}" destId="{D825280F-8091-44FB-B3C4-BF66D13314E5}" srcOrd="1" destOrd="0" presId="urn:microsoft.com/office/officeart/2005/8/layout/hierarchy3"/>
    <dgm:cxn modelId="{FE63A621-2185-43C6-8859-7EFBC41C79B2}" type="presParOf" srcId="{D825280F-8091-44FB-B3C4-BF66D13314E5}" destId="{E441A1EC-590B-4C05-B0B9-ACECF37DAB97}" srcOrd="0" destOrd="0" presId="urn:microsoft.com/office/officeart/2005/8/layout/hierarchy3"/>
    <dgm:cxn modelId="{29FDAEC3-E52A-476E-9075-958AA5A037CA}" type="presParOf" srcId="{D825280F-8091-44FB-B3C4-BF66D13314E5}" destId="{EA2BD35B-873F-4835-8AA5-0D09039E125B}" srcOrd="1" destOrd="0" presId="urn:microsoft.com/office/officeart/2005/8/layout/hierarchy3"/>
    <dgm:cxn modelId="{A1C89BA5-4D89-4C68-AD38-31155E5A10CB}" type="presParOf" srcId="{D825280F-8091-44FB-B3C4-BF66D13314E5}" destId="{08CB8B84-9B3B-4789-BB4A-DBA1A614EE73}" srcOrd="2" destOrd="0" presId="urn:microsoft.com/office/officeart/2005/8/layout/hierarchy3"/>
    <dgm:cxn modelId="{19F357C3-553A-40E9-8B0F-4383C9290E59}" type="presParOf" srcId="{D825280F-8091-44FB-B3C4-BF66D13314E5}" destId="{EABFCFA8-339F-44F3-A44F-6D156C176190}" srcOrd="3" destOrd="0" presId="urn:microsoft.com/office/officeart/2005/8/layout/hierarchy3"/>
    <dgm:cxn modelId="{4283E9D9-0514-4ECD-9D7D-E4D0D4131596}" type="presParOf" srcId="{D825280F-8091-44FB-B3C4-BF66D13314E5}" destId="{745800F2-9DF3-4428-BC07-EEC80967F31E}" srcOrd="4" destOrd="0" presId="urn:microsoft.com/office/officeart/2005/8/layout/hierarchy3"/>
    <dgm:cxn modelId="{11155E4C-B3F3-497A-B32E-6078D8B8A7B3}" type="presParOf" srcId="{D825280F-8091-44FB-B3C4-BF66D13314E5}" destId="{56FC442E-9F8A-4825-AEA5-D53EFC6B084F}" srcOrd="5" destOrd="0" presId="urn:microsoft.com/office/officeart/2005/8/layout/hierarchy3"/>
    <dgm:cxn modelId="{EE1E5AB9-98F5-4BD4-8F26-95937D9568A9}" type="presParOf" srcId="{475A93B7-2DF8-431C-9EB1-400BB65ABE2A}" destId="{F6A68B63-32C6-4E6A-9CA4-A78F1F48759A}" srcOrd="2" destOrd="0" presId="urn:microsoft.com/office/officeart/2005/8/layout/hierarchy3"/>
    <dgm:cxn modelId="{4BDFDBD0-BDEB-4AC8-9EF6-BEF9BC83901E}" type="presParOf" srcId="{F6A68B63-32C6-4E6A-9CA4-A78F1F48759A}" destId="{D07A26DC-6793-4CBC-8FC4-F6154CC7B495}" srcOrd="0" destOrd="0" presId="urn:microsoft.com/office/officeart/2005/8/layout/hierarchy3"/>
    <dgm:cxn modelId="{B7104A97-CE7C-45D3-B7EC-F7E5187180AD}" type="presParOf" srcId="{D07A26DC-6793-4CBC-8FC4-F6154CC7B495}" destId="{7A2F1350-8246-4E57-96D7-196DAB751312}" srcOrd="0" destOrd="0" presId="urn:microsoft.com/office/officeart/2005/8/layout/hierarchy3"/>
    <dgm:cxn modelId="{19E37F22-079C-4068-BF58-93C9DEC591E6}" type="presParOf" srcId="{D07A26DC-6793-4CBC-8FC4-F6154CC7B495}" destId="{56F7FE2A-9A7E-4CA1-8E08-C62D9BD19675}" srcOrd="1" destOrd="0" presId="urn:microsoft.com/office/officeart/2005/8/layout/hierarchy3"/>
    <dgm:cxn modelId="{2614FC43-E2C0-4A6E-953F-EE20CA60CEA1}" type="presParOf" srcId="{F6A68B63-32C6-4E6A-9CA4-A78F1F48759A}" destId="{44FE68B7-0248-412E-A538-D2F1E234AE76}" srcOrd="1" destOrd="0" presId="urn:microsoft.com/office/officeart/2005/8/layout/hierarchy3"/>
    <dgm:cxn modelId="{AB1625F9-D3FB-428A-B2CB-827CD5BC24F6}" type="presParOf" srcId="{44FE68B7-0248-412E-A538-D2F1E234AE76}" destId="{CFD9ADCE-7C16-4865-B42D-0BEEBD94FA8B}" srcOrd="0" destOrd="0" presId="urn:microsoft.com/office/officeart/2005/8/layout/hierarchy3"/>
    <dgm:cxn modelId="{C6982765-6B53-44CF-95FE-E2FCC4AF23E7}" type="presParOf" srcId="{44FE68B7-0248-412E-A538-D2F1E234AE76}" destId="{3DC52371-4B8A-4EDB-A4B3-56190C20A068}" srcOrd="1" destOrd="0" presId="urn:microsoft.com/office/officeart/2005/8/layout/hierarchy3"/>
    <dgm:cxn modelId="{2850755F-E3CF-446E-8817-3869B97BD767}" type="presParOf" srcId="{44FE68B7-0248-412E-A538-D2F1E234AE76}" destId="{F556C1D5-CE01-4C88-AA9E-D187A6F07C76}" srcOrd="2" destOrd="0" presId="urn:microsoft.com/office/officeart/2005/8/layout/hierarchy3"/>
    <dgm:cxn modelId="{ABE0F5C0-42A8-4896-A27F-9B56A3D50DDB}" type="presParOf" srcId="{44FE68B7-0248-412E-A538-D2F1E234AE76}" destId="{A7755D81-F3E8-4965-BB87-6950C85B81CD}" srcOrd="3" destOrd="0" presId="urn:microsoft.com/office/officeart/2005/8/layout/hierarchy3"/>
    <dgm:cxn modelId="{8DC04565-E53E-4D6A-94C7-162D6208C9C0}" type="presParOf" srcId="{44FE68B7-0248-412E-A538-D2F1E234AE76}" destId="{BBB71A05-14D9-4A05-8CCE-33800B523CF6}" srcOrd="4" destOrd="0" presId="urn:microsoft.com/office/officeart/2005/8/layout/hierarchy3"/>
    <dgm:cxn modelId="{B11B98F2-A572-4AE4-892E-EE3240CB764B}" type="presParOf" srcId="{44FE68B7-0248-412E-A538-D2F1E234AE76}" destId="{CF00A9B7-2B31-444E-B759-7BE3F55145D7}" srcOrd="5" destOrd="0" presId="urn:microsoft.com/office/officeart/2005/8/layout/hierarchy3"/>
    <dgm:cxn modelId="{0E6A59D3-7FF0-4B0D-9682-767201BF59BD}" type="presParOf" srcId="{475A93B7-2DF8-431C-9EB1-400BB65ABE2A}" destId="{3F596C6A-55D8-4ED7-ACAF-25F896217A02}" srcOrd="3" destOrd="0" presId="urn:microsoft.com/office/officeart/2005/8/layout/hierarchy3"/>
    <dgm:cxn modelId="{E4894C0E-3B26-492B-8A38-DEBAC251861A}" type="presParOf" srcId="{3F596C6A-55D8-4ED7-ACAF-25F896217A02}" destId="{16178FB8-049C-45F3-A99E-35385D747412}" srcOrd="0" destOrd="0" presId="urn:microsoft.com/office/officeart/2005/8/layout/hierarchy3"/>
    <dgm:cxn modelId="{EED68ED7-EE9D-42EF-8392-E9810C6B1924}" type="presParOf" srcId="{16178FB8-049C-45F3-A99E-35385D747412}" destId="{91623385-FFA0-4C44-A918-F55C6C679EA2}" srcOrd="0" destOrd="0" presId="urn:microsoft.com/office/officeart/2005/8/layout/hierarchy3"/>
    <dgm:cxn modelId="{94481FAD-BF40-404A-AA1F-82DEBB057289}" type="presParOf" srcId="{16178FB8-049C-45F3-A99E-35385D747412}" destId="{93A5EA50-6A93-43F5-B4FB-F12D2B36863D}" srcOrd="1" destOrd="0" presId="urn:microsoft.com/office/officeart/2005/8/layout/hierarchy3"/>
    <dgm:cxn modelId="{E4277605-48F0-4C94-9F8D-AE274A33A2BA}" type="presParOf" srcId="{3F596C6A-55D8-4ED7-ACAF-25F896217A02}" destId="{DA3D2D54-7AFD-49A1-863A-2F4237E1A3AD}" srcOrd="1" destOrd="0" presId="urn:microsoft.com/office/officeart/2005/8/layout/hierarchy3"/>
    <dgm:cxn modelId="{3364B945-7DC1-4DE9-8508-2B442C19DBE9}" type="presParOf" srcId="{DA3D2D54-7AFD-49A1-863A-2F4237E1A3AD}" destId="{CBD59229-9E12-4765-BD0C-14D1CCC714DC}" srcOrd="0" destOrd="0" presId="urn:microsoft.com/office/officeart/2005/8/layout/hierarchy3"/>
    <dgm:cxn modelId="{6CBC420B-28AF-4DE3-BEF8-EAE1C4C70174}" type="presParOf" srcId="{DA3D2D54-7AFD-49A1-863A-2F4237E1A3AD}" destId="{84210D65-24BC-4F74-B2EE-0BFD65CCD142}" srcOrd="1" destOrd="0" presId="urn:microsoft.com/office/officeart/2005/8/layout/hierarchy3"/>
    <dgm:cxn modelId="{35B2C5C0-90CF-48CE-8075-3A5F383BF79D}" type="presParOf" srcId="{DA3D2D54-7AFD-49A1-863A-2F4237E1A3AD}" destId="{9A888E11-E3C5-4EEA-A5E0-3D8782AA70BF}" srcOrd="2" destOrd="0" presId="urn:microsoft.com/office/officeart/2005/8/layout/hierarchy3"/>
    <dgm:cxn modelId="{30A49880-AB4E-41FE-ADC3-B5070B926C6A}" type="presParOf" srcId="{DA3D2D54-7AFD-49A1-863A-2F4237E1A3AD}" destId="{08FA7A3E-A751-4609-962C-40D9CEA2BD27}" srcOrd="3" destOrd="0" presId="urn:microsoft.com/office/officeart/2005/8/layout/hierarchy3"/>
    <dgm:cxn modelId="{24EC32AD-69C2-4794-A799-010449863790}" type="presParOf" srcId="{DA3D2D54-7AFD-49A1-863A-2F4237E1A3AD}" destId="{7D087C9C-06D4-4139-B760-84397350B8EF}" srcOrd="4" destOrd="0" presId="urn:microsoft.com/office/officeart/2005/8/layout/hierarchy3"/>
    <dgm:cxn modelId="{00AECF78-62A0-4148-803C-EA47F718E22D}" type="presParOf" srcId="{DA3D2D54-7AFD-49A1-863A-2F4237E1A3AD}" destId="{916AC3B3-16D0-493D-9968-5575271B9A47}" srcOrd="5" destOrd="0" presId="urn:microsoft.com/office/officeart/2005/8/layout/hierarchy3"/>
  </dgm:cxnLst>
  <dgm:bg>
    <a:noFill/>
  </dgm:bg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C53410-2B4C-476D-BA7C-6A20281B9D7F}">
      <dsp:nvSpPr>
        <dsp:cNvPr id="0" name=""/>
        <dsp:cNvSpPr/>
      </dsp:nvSpPr>
      <dsp:spPr>
        <a:xfrm>
          <a:off x="1488" y="678077"/>
          <a:ext cx="1710531" cy="855265"/>
        </a:xfrm>
        <a:prstGeom prst="roundRect">
          <a:avLst>
            <a:gd name="adj" fmla="val 10000"/>
          </a:avLst>
        </a:prstGeom>
        <a:solidFill>
          <a:srgbClr val="002060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>
              <a:latin typeface="Arial" panose="020B0604020202020204" pitchFamily="34" charset="0"/>
              <a:cs typeface="Arial" panose="020B0604020202020204" pitchFamily="34" charset="0"/>
            </a:rPr>
            <a:t>Vision</a:t>
          </a:r>
        </a:p>
      </dsp:txBody>
      <dsp:txXfrm>
        <a:off x="26538" y="703127"/>
        <a:ext cx="1660431" cy="805165"/>
      </dsp:txXfrm>
    </dsp:sp>
    <dsp:sp modelId="{B17C7465-EE44-4884-B540-D342E4E1BA37}">
      <dsp:nvSpPr>
        <dsp:cNvPr id="0" name=""/>
        <dsp:cNvSpPr/>
      </dsp:nvSpPr>
      <dsp:spPr>
        <a:xfrm>
          <a:off x="172541" y="1533343"/>
          <a:ext cx="171053" cy="6414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1449"/>
              </a:lnTo>
              <a:lnTo>
                <a:pt x="171053" y="641449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1C535A-6488-4908-91A6-7D49AE8F737C}">
      <dsp:nvSpPr>
        <dsp:cNvPr id="0" name=""/>
        <dsp:cNvSpPr/>
      </dsp:nvSpPr>
      <dsp:spPr>
        <a:xfrm>
          <a:off x="343594" y="1747159"/>
          <a:ext cx="1368424" cy="855265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latin typeface="Arial" panose="020B0604020202020204" pitchFamily="34" charset="0"/>
              <a:cs typeface="Arial" panose="020B0604020202020204" pitchFamily="34" charset="0"/>
            </a:rPr>
            <a:t>Clear road ahead</a:t>
          </a:r>
        </a:p>
      </dsp:txBody>
      <dsp:txXfrm>
        <a:off x="368644" y="1772209"/>
        <a:ext cx="1318324" cy="805165"/>
      </dsp:txXfrm>
    </dsp:sp>
    <dsp:sp modelId="{5F7F6A49-102A-417C-80AF-3F3774A02CE9}">
      <dsp:nvSpPr>
        <dsp:cNvPr id="0" name=""/>
        <dsp:cNvSpPr/>
      </dsp:nvSpPr>
      <dsp:spPr>
        <a:xfrm>
          <a:off x="172541" y="1533343"/>
          <a:ext cx="171053" cy="17105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10531"/>
              </a:lnTo>
              <a:lnTo>
                <a:pt x="171053" y="1710531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29CE25A-3445-4FCB-A7C8-1E0AD6B39954}">
      <dsp:nvSpPr>
        <dsp:cNvPr id="0" name=""/>
        <dsp:cNvSpPr/>
      </dsp:nvSpPr>
      <dsp:spPr>
        <a:xfrm>
          <a:off x="343594" y="2816241"/>
          <a:ext cx="1368424" cy="855265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latin typeface="Arial" panose="020B0604020202020204" pitchFamily="34" charset="0"/>
              <a:cs typeface="Arial" panose="020B0604020202020204" pitchFamily="34" charset="0"/>
            </a:rPr>
            <a:t>Analytical strategies</a:t>
          </a:r>
        </a:p>
      </dsp:txBody>
      <dsp:txXfrm>
        <a:off x="368644" y="2841291"/>
        <a:ext cx="1318324" cy="805165"/>
      </dsp:txXfrm>
    </dsp:sp>
    <dsp:sp modelId="{07BE1FE4-FFBF-4053-8754-F8623D255E2E}">
      <dsp:nvSpPr>
        <dsp:cNvPr id="0" name=""/>
        <dsp:cNvSpPr/>
      </dsp:nvSpPr>
      <dsp:spPr>
        <a:xfrm>
          <a:off x="172541" y="1533343"/>
          <a:ext cx="171053" cy="27796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79613"/>
              </a:lnTo>
              <a:lnTo>
                <a:pt x="171053" y="2779613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D7C674-FA4B-4A22-9141-4F0AFA0442B4}">
      <dsp:nvSpPr>
        <dsp:cNvPr id="0" name=""/>
        <dsp:cNvSpPr/>
      </dsp:nvSpPr>
      <dsp:spPr>
        <a:xfrm>
          <a:off x="343594" y="3885323"/>
          <a:ext cx="1368424" cy="855265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latin typeface="Arial" panose="020B0604020202020204" pitchFamily="34" charset="0"/>
              <a:cs typeface="Arial" panose="020B0604020202020204" pitchFamily="34" charset="0"/>
            </a:rPr>
            <a:t>Value stream mapping</a:t>
          </a:r>
        </a:p>
      </dsp:txBody>
      <dsp:txXfrm>
        <a:off x="368644" y="3910373"/>
        <a:ext cx="1318324" cy="805165"/>
      </dsp:txXfrm>
    </dsp:sp>
    <dsp:sp modelId="{25D4E1C0-4D75-45ED-B4E3-A7F861A41677}">
      <dsp:nvSpPr>
        <dsp:cNvPr id="0" name=""/>
        <dsp:cNvSpPr/>
      </dsp:nvSpPr>
      <dsp:spPr>
        <a:xfrm>
          <a:off x="2139652" y="678077"/>
          <a:ext cx="1710531" cy="855265"/>
        </a:xfrm>
        <a:prstGeom prst="roundRect">
          <a:avLst>
            <a:gd name="adj" fmla="val 10000"/>
          </a:avLst>
        </a:prstGeom>
        <a:solidFill>
          <a:srgbClr val="002060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>
              <a:latin typeface="Arial" panose="020B0604020202020204" pitchFamily="34" charset="0"/>
              <a:cs typeface="Arial" panose="020B0604020202020204" pitchFamily="34" charset="0"/>
            </a:rPr>
            <a:t>Use cases</a:t>
          </a:r>
        </a:p>
      </dsp:txBody>
      <dsp:txXfrm>
        <a:off x="2164702" y="703127"/>
        <a:ext cx="1660431" cy="805165"/>
      </dsp:txXfrm>
    </dsp:sp>
    <dsp:sp modelId="{E441A1EC-590B-4C05-B0B9-ACECF37DAB97}">
      <dsp:nvSpPr>
        <dsp:cNvPr id="0" name=""/>
        <dsp:cNvSpPr/>
      </dsp:nvSpPr>
      <dsp:spPr>
        <a:xfrm>
          <a:off x="2310705" y="1533343"/>
          <a:ext cx="171053" cy="6414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1449"/>
              </a:lnTo>
              <a:lnTo>
                <a:pt x="171053" y="641449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2BD35B-873F-4835-8AA5-0D09039E125B}">
      <dsp:nvSpPr>
        <dsp:cNvPr id="0" name=""/>
        <dsp:cNvSpPr/>
      </dsp:nvSpPr>
      <dsp:spPr>
        <a:xfrm>
          <a:off x="2481758" y="1747159"/>
          <a:ext cx="1368424" cy="855265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latin typeface="Arial" panose="020B0604020202020204" pitchFamily="34" charset="0"/>
              <a:cs typeface="Arial" panose="020B0604020202020204" pitchFamily="34" charset="0"/>
            </a:rPr>
            <a:t>Analytics as main player</a:t>
          </a:r>
        </a:p>
      </dsp:txBody>
      <dsp:txXfrm>
        <a:off x="2506808" y="1772209"/>
        <a:ext cx="1318324" cy="805165"/>
      </dsp:txXfrm>
    </dsp:sp>
    <dsp:sp modelId="{08CB8B84-9B3B-4789-BB4A-DBA1A614EE73}">
      <dsp:nvSpPr>
        <dsp:cNvPr id="0" name=""/>
        <dsp:cNvSpPr/>
      </dsp:nvSpPr>
      <dsp:spPr>
        <a:xfrm>
          <a:off x="2310705" y="1533343"/>
          <a:ext cx="171053" cy="17105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10531"/>
              </a:lnTo>
              <a:lnTo>
                <a:pt x="171053" y="1710531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BFCFA8-339F-44F3-A44F-6D156C176190}">
      <dsp:nvSpPr>
        <dsp:cNvPr id="0" name=""/>
        <dsp:cNvSpPr/>
      </dsp:nvSpPr>
      <dsp:spPr>
        <a:xfrm>
          <a:off x="2481758" y="2816241"/>
          <a:ext cx="1368424" cy="855265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latin typeface="Arial" panose="020B0604020202020204" pitchFamily="34" charset="0"/>
              <a:cs typeface="Arial" panose="020B0604020202020204" pitchFamily="34" charset="0"/>
            </a:rPr>
            <a:t>To be part of all deliverables</a:t>
          </a:r>
        </a:p>
      </dsp:txBody>
      <dsp:txXfrm>
        <a:off x="2506808" y="2841291"/>
        <a:ext cx="1318324" cy="805165"/>
      </dsp:txXfrm>
    </dsp:sp>
    <dsp:sp modelId="{745800F2-9DF3-4428-BC07-EEC80967F31E}">
      <dsp:nvSpPr>
        <dsp:cNvPr id="0" name=""/>
        <dsp:cNvSpPr/>
      </dsp:nvSpPr>
      <dsp:spPr>
        <a:xfrm>
          <a:off x="2310705" y="1533343"/>
          <a:ext cx="171053" cy="27796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79613"/>
              </a:lnTo>
              <a:lnTo>
                <a:pt x="171053" y="2779613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FC442E-9F8A-4825-AEA5-D53EFC6B084F}">
      <dsp:nvSpPr>
        <dsp:cNvPr id="0" name=""/>
        <dsp:cNvSpPr/>
      </dsp:nvSpPr>
      <dsp:spPr>
        <a:xfrm>
          <a:off x="2481758" y="3885323"/>
          <a:ext cx="1368424" cy="855265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latin typeface="Arial" panose="020B0604020202020204" pitchFamily="34" charset="0"/>
              <a:cs typeface="Arial" panose="020B0604020202020204" pitchFamily="34" charset="0"/>
            </a:rPr>
            <a:t>From Customer to Network</a:t>
          </a:r>
        </a:p>
      </dsp:txBody>
      <dsp:txXfrm>
        <a:off x="2506808" y="3910373"/>
        <a:ext cx="1318324" cy="805165"/>
      </dsp:txXfrm>
    </dsp:sp>
    <dsp:sp modelId="{7A2F1350-8246-4E57-96D7-196DAB751312}">
      <dsp:nvSpPr>
        <dsp:cNvPr id="0" name=""/>
        <dsp:cNvSpPr/>
      </dsp:nvSpPr>
      <dsp:spPr>
        <a:xfrm>
          <a:off x="4277816" y="678077"/>
          <a:ext cx="1710531" cy="855265"/>
        </a:xfrm>
        <a:prstGeom prst="roundRect">
          <a:avLst>
            <a:gd name="adj" fmla="val 10000"/>
          </a:avLst>
        </a:prstGeom>
        <a:solidFill>
          <a:srgbClr val="002060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>
              <a:latin typeface="Arial" panose="020B0604020202020204" pitchFamily="34" charset="0"/>
              <a:cs typeface="Arial" panose="020B0604020202020204" pitchFamily="34" charset="0"/>
            </a:rPr>
            <a:t>Models &amp; Engines</a:t>
          </a:r>
        </a:p>
      </dsp:txBody>
      <dsp:txXfrm>
        <a:off x="4302866" y="703127"/>
        <a:ext cx="1660431" cy="805165"/>
      </dsp:txXfrm>
    </dsp:sp>
    <dsp:sp modelId="{CFD9ADCE-7C16-4865-B42D-0BEEBD94FA8B}">
      <dsp:nvSpPr>
        <dsp:cNvPr id="0" name=""/>
        <dsp:cNvSpPr/>
      </dsp:nvSpPr>
      <dsp:spPr>
        <a:xfrm>
          <a:off x="4448869" y="1533343"/>
          <a:ext cx="171053" cy="6414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1449"/>
              </a:lnTo>
              <a:lnTo>
                <a:pt x="171053" y="641449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C52371-4B8A-4EDB-A4B3-56190C20A068}">
      <dsp:nvSpPr>
        <dsp:cNvPr id="0" name=""/>
        <dsp:cNvSpPr/>
      </dsp:nvSpPr>
      <dsp:spPr>
        <a:xfrm>
          <a:off x="4619922" y="1747159"/>
          <a:ext cx="1368424" cy="855265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latin typeface="Arial" panose="020B0604020202020204" pitchFamily="34" charset="0"/>
              <a:cs typeface="Arial" panose="020B0604020202020204" pitchFamily="34" charset="0"/>
            </a:rPr>
            <a:t>Integrated data</a:t>
          </a:r>
        </a:p>
      </dsp:txBody>
      <dsp:txXfrm>
        <a:off x="4644972" y="1772209"/>
        <a:ext cx="1318324" cy="805165"/>
      </dsp:txXfrm>
    </dsp:sp>
    <dsp:sp modelId="{F556C1D5-CE01-4C88-AA9E-D187A6F07C76}">
      <dsp:nvSpPr>
        <dsp:cNvPr id="0" name=""/>
        <dsp:cNvSpPr/>
      </dsp:nvSpPr>
      <dsp:spPr>
        <a:xfrm>
          <a:off x="4448869" y="1533343"/>
          <a:ext cx="171053" cy="17105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10531"/>
              </a:lnTo>
              <a:lnTo>
                <a:pt x="171053" y="1710531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755D81-F3E8-4965-BB87-6950C85B81CD}">
      <dsp:nvSpPr>
        <dsp:cNvPr id="0" name=""/>
        <dsp:cNvSpPr/>
      </dsp:nvSpPr>
      <dsp:spPr>
        <a:xfrm>
          <a:off x="4619922" y="2816241"/>
          <a:ext cx="1368424" cy="855265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latin typeface="Arial" panose="020B0604020202020204" pitchFamily="34" charset="0"/>
              <a:cs typeface="Arial" panose="020B0604020202020204" pitchFamily="34" charset="0"/>
            </a:rPr>
            <a:t>Real/Near real time analysis</a:t>
          </a:r>
        </a:p>
      </dsp:txBody>
      <dsp:txXfrm>
        <a:off x="4644972" y="2841291"/>
        <a:ext cx="1318324" cy="805165"/>
      </dsp:txXfrm>
    </dsp:sp>
    <dsp:sp modelId="{BBB71A05-14D9-4A05-8CCE-33800B523CF6}">
      <dsp:nvSpPr>
        <dsp:cNvPr id="0" name=""/>
        <dsp:cNvSpPr/>
      </dsp:nvSpPr>
      <dsp:spPr>
        <a:xfrm>
          <a:off x="4448869" y="1533343"/>
          <a:ext cx="171053" cy="27796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79613"/>
              </a:lnTo>
              <a:lnTo>
                <a:pt x="171053" y="2779613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00A9B7-2B31-444E-B759-7BE3F55145D7}">
      <dsp:nvSpPr>
        <dsp:cNvPr id="0" name=""/>
        <dsp:cNvSpPr/>
      </dsp:nvSpPr>
      <dsp:spPr>
        <a:xfrm>
          <a:off x="4619922" y="3885323"/>
          <a:ext cx="1368424" cy="855265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latin typeface="Arial" panose="020B0604020202020204" pitchFamily="34" charset="0"/>
              <a:cs typeface="Arial" panose="020B0604020202020204" pitchFamily="34" charset="0"/>
            </a:rPr>
            <a:t>Action rather than just insights</a:t>
          </a:r>
        </a:p>
      </dsp:txBody>
      <dsp:txXfrm>
        <a:off x="4644972" y="3910373"/>
        <a:ext cx="1318324" cy="805165"/>
      </dsp:txXfrm>
    </dsp:sp>
    <dsp:sp modelId="{91623385-FFA0-4C44-A918-F55C6C679EA2}">
      <dsp:nvSpPr>
        <dsp:cNvPr id="0" name=""/>
        <dsp:cNvSpPr/>
      </dsp:nvSpPr>
      <dsp:spPr>
        <a:xfrm>
          <a:off x="6415980" y="678077"/>
          <a:ext cx="1710531" cy="855265"/>
        </a:xfrm>
        <a:prstGeom prst="roundRect">
          <a:avLst>
            <a:gd name="adj" fmla="val 10000"/>
          </a:avLst>
        </a:prstGeom>
        <a:solidFill>
          <a:srgbClr val="002060"/>
        </a:solidFill>
        <a:ln w="1905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800" kern="1200" dirty="0">
              <a:latin typeface="Arial" panose="020B0604020202020204" pitchFamily="34" charset="0"/>
              <a:cs typeface="Arial" panose="020B0604020202020204" pitchFamily="34" charset="0"/>
            </a:rPr>
            <a:t>Talent Pool</a:t>
          </a:r>
        </a:p>
      </dsp:txBody>
      <dsp:txXfrm>
        <a:off x="6441030" y="703127"/>
        <a:ext cx="1660431" cy="805165"/>
      </dsp:txXfrm>
    </dsp:sp>
    <dsp:sp modelId="{CBD59229-9E12-4765-BD0C-14D1CCC714DC}">
      <dsp:nvSpPr>
        <dsp:cNvPr id="0" name=""/>
        <dsp:cNvSpPr/>
      </dsp:nvSpPr>
      <dsp:spPr>
        <a:xfrm>
          <a:off x="6587033" y="1533343"/>
          <a:ext cx="171053" cy="6414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1449"/>
              </a:lnTo>
              <a:lnTo>
                <a:pt x="171053" y="641449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4210D65-24BC-4F74-B2EE-0BFD65CCD142}">
      <dsp:nvSpPr>
        <dsp:cNvPr id="0" name=""/>
        <dsp:cNvSpPr/>
      </dsp:nvSpPr>
      <dsp:spPr>
        <a:xfrm>
          <a:off x="6758086" y="1747159"/>
          <a:ext cx="1368424" cy="855265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latin typeface="Arial" panose="020B0604020202020204" pitchFamily="34" charset="0"/>
              <a:cs typeface="Arial" panose="020B0604020202020204" pitchFamily="34" charset="0"/>
            </a:rPr>
            <a:t>Leadership alignment</a:t>
          </a:r>
        </a:p>
      </dsp:txBody>
      <dsp:txXfrm>
        <a:off x="6783136" y="1772209"/>
        <a:ext cx="1318324" cy="805165"/>
      </dsp:txXfrm>
    </dsp:sp>
    <dsp:sp modelId="{9A888E11-E3C5-4EEA-A5E0-3D8782AA70BF}">
      <dsp:nvSpPr>
        <dsp:cNvPr id="0" name=""/>
        <dsp:cNvSpPr/>
      </dsp:nvSpPr>
      <dsp:spPr>
        <a:xfrm>
          <a:off x="6587033" y="1533343"/>
          <a:ext cx="171053" cy="17105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10531"/>
              </a:lnTo>
              <a:lnTo>
                <a:pt x="171053" y="1710531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8FA7A3E-A751-4609-962C-40D9CEA2BD27}">
      <dsp:nvSpPr>
        <dsp:cNvPr id="0" name=""/>
        <dsp:cNvSpPr/>
      </dsp:nvSpPr>
      <dsp:spPr>
        <a:xfrm>
          <a:off x="6758086" y="2816241"/>
          <a:ext cx="1368424" cy="855265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latin typeface="Arial" panose="020B0604020202020204" pitchFamily="34" charset="0"/>
              <a:cs typeface="Arial" panose="020B0604020202020204" pitchFamily="34" charset="0"/>
            </a:rPr>
            <a:t>#Analytics as culture</a:t>
          </a:r>
        </a:p>
      </dsp:txBody>
      <dsp:txXfrm>
        <a:off x="6783136" y="2841291"/>
        <a:ext cx="1318324" cy="805165"/>
      </dsp:txXfrm>
    </dsp:sp>
    <dsp:sp modelId="{7D087C9C-06D4-4139-B760-84397350B8EF}">
      <dsp:nvSpPr>
        <dsp:cNvPr id="0" name=""/>
        <dsp:cNvSpPr/>
      </dsp:nvSpPr>
      <dsp:spPr>
        <a:xfrm>
          <a:off x="6587033" y="1533343"/>
          <a:ext cx="171053" cy="27796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79613"/>
              </a:lnTo>
              <a:lnTo>
                <a:pt x="171053" y="2779613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6AC3B3-16D0-493D-9968-5575271B9A47}">
      <dsp:nvSpPr>
        <dsp:cNvPr id="0" name=""/>
        <dsp:cNvSpPr/>
      </dsp:nvSpPr>
      <dsp:spPr>
        <a:xfrm>
          <a:off x="6758086" y="3885323"/>
          <a:ext cx="1368424" cy="855265"/>
        </a:xfrm>
        <a:prstGeom prst="roundRect">
          <a:avLst>
            <a:gd name="adj" fmla="val 10000"/>
          </a:avLst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kern="1200" dirty="0">
              <a:latin typeface="Arial" panose="020B0604020202020204" pitchFamily="34" charset="0"/>
              <a:cs typeface="Arial" panose="020B0604020202020204" pitchFamily="34" charset="0"/>
            </a:rPr>
            <a:t>Talent acquisition and retainment</a:t>
          </a:r>
        </a:p>
      </dsp:txBody>
      <dsp:txXfrm>
        <a:off x="6783136" y="3910373"/>
        <a:ext cx="1318324" cy="8051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8D890E-D6CB-4D76-B72E-2CB8C2514AB8}" type="datetimeFigureOut">
              <a:rPr lang="en-US" smtClean="0"/>
              <a:t>1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1FD553-E39E-46E7-BD26-ED19901C7E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422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17937B-4B44-3BBF-7746-32A3C71BE3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19CE629-4EEB-9402-D3FF-9762C27295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85D8F0-07B3-1D2F-96A6-B70BF47B02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BB1420-4C13-F275-A696-B3F5327C28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53C370-020D-4C8C-8258-2BA79F8BE810}" type="slidenum">
              <a:rPr lang="en-IN" smtClean="0"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1385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20834" y="134694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0834" y="429969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920834" y="1484779"/>
            <a:ext cx="10222992" cy="274320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10" name="Group 9"/>
          <p:cNvGrpSpPr/>
          <p:nvPr/>
        </p:nvGrpSpPr>
        <p:grpSpPr>
          <a:xfrm>
            <a:off x="9649215" y="4068923"/>
            <a:ext cx="1080904" cy="1080902"/>
            <a:chOff x="9685338" y="4460675"/>
            <a:chExt cx="1080904" cy="1080902"/>
          </a:xfrm>
        </p:grpSpPr>
        <p:sp>
          <p:nvSpPr>
            <p:cNvPr id="11" name="Oval 10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2" name="Oval 11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1560" y="1432223"/>
            <a:ext cx="9966960" cy="303580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9600" cap="all" baseline="0">
                <a:blipFill dpi="0" rotWithShape="1">
                  <a:blip r:embed="rId4"/>
                  <a:srcRect/>
                  <a:tile tx="6350" ty="-127000" sx="65000" sy="64000" flip="none" algn="tl"/>
                </a:blip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9848" y="4389120"/>
            <a:ext cx="7891272" cy="1069848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/1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lnSpc>
                <a:spcPts val="1050"/>
              </a:lnSpc>
            </a:pPr>
            <a:r>
              <a:rPr lang="en-US"/>
              <a:t>Proprietary content. </a:t>
            </a:r>
            <a:r>
              <a:rPr lang="en-US" spc="-5"/>
              <a:t>©Great Learning. </a:t>
            </a:r>
            <a:r>
              <a:rPr lang="en-US"/>
              <a:t>All Rights Reserved. Unauthorized </a:t>
            </a:r>
            <a:r>
              <a:rPr lang="en-US" spc="-5"/>
              <a:t>use or distribution</a:t>
            </a:r>
            <a:r>
              <a:rPr lang="en-US" spc="-75"/>
              <a:t> </a:t>
            </a:r>
            <a:r>
              <a:rPr lang="en-US" spc="-5"/>
              <a:t>prohibited</a:t>
            </a:r>
            <a:endParaRPr lang="en-US" spc="-5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92733" y="4289334"/>
            <a:ext cx="1193868" cy="640080"/>
          </a:xfrm>
        </p:spPr>
        <p:txBody>
          <a:bodyPr/>
          <a:lstStyle>
            <a:lvl1pPr>
              <a:defRPr sz="2800"/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889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/1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lnSpc>
                <a:spcPts val="1050"/>
              </a:lnSpc>
            </a:pPr>
            <a:r>
              <a:rPr lang="en-US"/>
              <a:t>Proprietary content. </a:t>
            </a:r>
            <a:r>
              <a:rPr lang="en-US" spc="-5"/>
              <a:t>©Great Learning. </a:t>
            </a:r>
            <a:r>
              <a:rPr lang="en-US"/>
              <a:t>All Rights Reserved. Unauthorized </a:t>
            </a:r>
            <a:r>
              <a:rPr lang="en-US" spc="-5"/>
              <a:t>use or distribution</a:t>
            </a:r>
            <a:r>
              <a:rPr lang="en-US" spc="-75"/>
              <a:t> </a:t>
            </a:r>
            <a:r>
              <a:rPr lang="en-US" spc="-5"/>
              <a:t>prohibited</a:t>
            </a:r>
            <a:endParaRPr lang="en-US" spc="-5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7215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533400"/>
            <a:ext cx="25527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66800" y="533400"/>
            <a:ext cx="75057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/1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lnSpc>
                <a:spcPts val="1050"/>
              </a:lnSpc>
            </a:pPr>
            <a:r>
              <a:rPr lang="en-US"/>
              <a:t>Proprietary content. </a:t>
            </a:r>
            <a:r>
              <a:rPr lang="en-US" spc="-5"/>
              <a:t>©Great Learning. </a:t>
            </a:r>
            <a:r>
              <a:rPr lang="en-US"/>
              <a:t>All Rights Reserved. Unauthorized </a:t>
            </a:r>
            <a:r>
              <a:rPr lang="en-US" spc="-5"/>
              <a:t>use or distribution</a:t>
            </a:r>
            <a:r>
              <a:rPr lang="en-US" spc="-75"/>
              <a:t> </a:t>
            </a:r>
            <a:r>
              <a:rPr lang="en-US" spc="-5"/>
              <a:t>prohibited</a:t>
            </a:r>
            <a:endParaRPr lang="en-US" spc="-5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7666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8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62195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Rectangle 5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90461" y="6587513"/>
            <a:ext cx="805968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ClrTx/>
              <a:defRPr sz="800">
                <a:cs typeface="+mn-cs"/>
              </a:defRPr>
            </a:lvl1pPr>
          </a:lstStyle>
          <a:p>
            <a:pPr>
              <a:defRPr/>
            </a:pPr>
            <a:r>
              <a:rPr lang="en-US">
                <a:solidFill>
                  <a:srgbClr val="124191">
                    <a:tint val="75000"/>
                  </a:srgbClr>
                </a:solidFill>
              </a:rPr>
              <a:t>Dept. / Author / Date</a:t>
            </a:r>
          </a:p>
        </p:txBody>
      </p:sp>
    </p:spTree>
    <p:extLst>
      <p:ext uri="{BB962C8B-B14F-4D97-AF65-F5344CB8AC3E}">
        <p14:creationId xmlns:p14="http://schemas.microsoft.com/office/powerpoint/2010/main" val="320038551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/1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lnSpc>
                <a:spcPts val="1050"/>
              </a:lnSpc>
            </a:pPr>
            <a:r>
              <a:rPr lang="en-US"/>
              <a:t>Proprietary content. </a:t>
            </a:r>
            <a:r>
              <a:rPr lang="en-US" spc="-5"/>
              <a:t>©Great Learning. </a:t>
            </a:r>
            <a:r>
              <a:rPr lang="en-US"/>
              <a:t>All Rights Reserved. Unauthorized </a:t>
            </a:r>
            <a:r>
              <a:rPr lang="en-US" spc="-5"/>
              <a:t>use or distribution</a:t>
            </a:r>
            <a:r>
              <a:rPr lang="en-US" spc="-75"/>
              <a:t> </a:t>
            </a:r>
            <a:r>
              <a:rPr lang="en-US" spc="-5"/>
              <a:t>prohibited</a:t>
            </a:r>
            <a:endParaRPr lang="en-US" spc="-5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414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917989"/>
            <a:ext cx="12192000" cy="194001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128" y="1225296"/>
            <a:ext cx="9281160" cy="352044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8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65774" y="5020056"/>
            <a:ext cx="9052560" cy="1066800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93667" y="6272784"/>
            <a:ext cx="2644309" cy="365125"/>
          </a:xfrm>
        </p:spPr>
        <p:txBody>
          <a:bodyPr/>
          <a:lstStyle/>
          <a:p>
            <a:fld id="{1D8BD707-D9CF-40AE-B4C6-C98DA3205C09}" type="datetimeFigureOut">
              <a:rPr lang="en-US" smtClean="0"/>
              <a:t>1/1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2708" y="6272784"/>
            <a:ext cx="6327648" cy="365125"/>
          </a:xfrm>
        </p:spPr>
        <p:txBody>
          <a:bodyPr/>
          <a:lstStyle/>
          <a:p>
            <a:pPr marL="12700">
              <a:lnSpc>
                <a:spcPts val="1050"/>
              </a:lnSpc>
            </a:pPr>
            <a:r>
              <a:rPr lang="en-US"/>
              <a:t>Proprietary content. </a:t>
            </a:r>
            <a:r>
              <a:rPr lang="en-US" spc="-5"/>
              <a:t>©Great Learning. </a:t>
            </a:r>
            <a:r>
              <a:rPr lang="en-US"/>
              <a:t>All Rights Reserved. Unauthorized </a:t>
            </a:r>
            <a:r>
              <a:rPr lang="en-US" spc="-5"/>
              <a:t>use or distribution</a:t>
            </a:r>
            <a:r>
              <a:rPr lang="en-US" spc="-75"/>
              <a:t> </a:t>
            </a:r>
            <a:r>
              <a:rPr lang="en-US" spc="-5"/>
              <a:t>prohibited</a:t>
            </a:r>
            <a:endParaRPr lang="en-US" spc="-5" dirty="0"/>
          </a:p>
        </p:txBody>
      </p:sp>
      <p:grpSp>
        <p:nvGrpSpPr>
          <p:cNvPr id="8" name="Group 7"/>
          <p:cNvGrpSpPr/>
          <p:nvPr/>
        </p:nvGrpSpPr>
        <p:grpSpPr>
          <a:xfrm>
            <a:off x="897399" y="2325848"/>
            <a:ext cx="1080904" cy="1080902"/>
            <a:chOff x="9685338" y="4460675"/>
            <a:chExt cx="1080904" cy="1080902"/>
          </a:xfrm>
        </p:grpSpPr>
        <p:sp>
          <p:nvSpPr>
            <p:cNvPr id="9" name="Oval 8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3702" y="2506133"/>
            <a:ext cx="1188298" cy="720332"/>
          </a:xfrm>
        </p:spPr>
        <p:txBody>
          <a:bodyPr/>
          <a:lstStyle>
            <a:lvl1pPr>
              <a:defRPr sz="2800"/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640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48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4224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/1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lnSpc>
                <a:spcPts val="1050"/>
              </a:lnSpc>
            </a:pPr>
            <a:r>
              <a:rPr lang="en-US"/>
              <a:t>Proprietary content. </a:t>
            </a:r>
            <a:r>
              <a:rPr lang="en-US" spc="-5"/>
              <a:t>©Great Learning. </a:t>
            </a:r>
            <a:r>
              <a:rPr lang="en-US"/>
              <a:t>All Rights Reserved. Unauthorized </a:t>
            </a:r>
            <a:r>
              <a:rPr lang="en-US" spc="-5"/>
              <a:t>use or distribution</a:t>
            </a:r>
            <a:r>
              <a:rPr lang="en-US" spc="-75"/>
              <a:t> </a:t>
            </a:r>
            <a:r>
              <a:rPr lang="en-US" spc="-5"/>
              <a:t>prohibited</a:t>
            </a:r>
            <a:endParaRPr lang="en-US" spc="-5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2582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4224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4224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/19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lnSpc>
                <a:spcPts val="1050"/>
              </a:lnSpc>
            </a:pPr>
            <a:r>
              <a:rPr lang="en-US"/>
              <a:t>Proprietary content. </a:t>
            </a:r>
            <a:r>
              <a:rPr lang="en-US" spc="-5"/>
              <a:t>©Great Learning. </a:t>
            </a:r>
            <a:r>
              <a:rPr lang="en-US"/>
              <a:t>All Rights Reserved. Unauthorized </a:t>
            </a:r>
            <a:r>
              <a:rPr lang="en-US" spc="-5"/>
              <a:t>use or distribution</a:t>
            </a:r>
            <a:r>
              <a:rPr lang="en-US" spc="-75"/>
              <a:t> </a:t>
            </a:r>
            <a:r>
              <a:rPr lang="en-US" spc="-5"/>
              <a:t>prohibited</a:t>
            </a:r>
            <a:endParaRPr lang="en-US" spc="-5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4692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/19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lnSpc>
                <a:spcPts val="1050"/>
              </a:lnSpc>
            </a:pPr>
            <a:r>
              <a:rPr lang="en-US"/>
              <a:t>Proprietary content. </a:t>
            </a:r>
            <a:r>
              <a:rPr lang="en-US" spc="-5"/>
              <a:t>©Great Learning. </a:t>
            </a:r>
            <a:r>
              <a:rPr lang="en-US"/>
              <a:t>All Rights Reserved. Unauthorized </a:t>
            </a:r>
            <a:r>
              <a:rPr lang="en-US" spc="-5"/>
              <a:t>use or distribution</a:t>
            </a:r>
            <a:r>
              <a:rPr lang="en-US" spc="-75"/>
              <a:t> </a:t>
            </a:r>
            <a:r>
              <a:rPr lang="en-US" spc="-5"/>
              <a:t>prohibited</a:t>
            </a:r>
            <a:endParaRPr lang="en-US" spc="-5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8029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/19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lnSpc>
                <a:spcPts val="1050"/>
              </a:lnSpc>
            </a:pPr>
            <a:r>
              <a:rPr lang="en-US"/>
              <a:t>Proprietary content. </a:t>
            </a:r>
            <a:r>
              <a:rPr lang="en-US" spc="-5"/>
              <a:t>©Great Learning. </a:t>
            </a:r>
            <a:r>
              <a:rPr lang="en-US"/>
              <a:t>All Rights Reserved. Unauthorized </a:t>
            </a:r>
            <a:r>
              <a:rPr lang="en-US" spc="-5"/>
              <a:t>use or distribution</a:t>
            </a:r>
            <a:r>
              <a:rPr lang="en-US" spc="-75"/>
              <a:t> </a:t>
            </a:r>
            <a:r>
              <a:rPr lang="en-US" spc="-5"/>
              <a:t>prohibited</a:t>
            </a:r>
            <a:endParaRPr lang="en-US" spc="-5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929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685800"/>
            <a:ext cx="6711696" cy="502005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/1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lnSpc>
                <a:spcPts val="1050"/>
              </a:lnSpc>
            </a:pPr>
            <a:r>
              <a:rPr lang="en-US"/>
              <a:t>Proprietary content. </a:t>
            </a:r>
            <a:r>
              <a:rPr lang="en-US" spc="-5"/>
              <a:t>©Great Learning. </a:t>
            </a:r>
            <a:r>
              <a:rPr lang="en-US"/>
              <a:t>All Rights Reserved. Unauthorized </a:t>
            </a:r>
            <a:r>
              <a:rPr lang="en-US" spc="-5"/>
              <a:t>use or distribution</a:t>
            </a:r>
            <a:r>
              <a:rPr lang="en-US" spc="-75"/>
              <a:t> </a:t>
            </a:r>
            <a:r>
              <a:rPr lang="en-US" spc="-5"/>
              <a:t>prohibited</a:t>
            </a:r>
            <a:endParaRPr lang="en-US" spc="-5" dirty="0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10" name="Oval 9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1" name="Oval 10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7591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830374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1/19/2024</a:t>
            </a:fld>
            <a:endParaRPr lang="en-US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9" name="Oval 8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8689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64424" y="6272784"/>
            <a:ext cx="3273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/1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8136" y="6272784"/>
            <a:ext cx="6327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pPr marL="12700">
              <a:lnSpc>
                <a:spcPts val="1050"/>
              </a:lnSpc>
            </a:pPr>
            <a:r>
              <a:rPr lang="en-US"/>
              <a:t>Proprietary content. </a:t>
            </a:r>
            <a:r>
              <a:rPr lang="en-US" spc="-5"/>
              <a:t>©Great Learning. </a:t>
            </a:r>
            <a:r>
              <a:rPr lang="en-US"/>
              <a:t>All Rights Reserved. Unauthorized </a:t>
            </a:r>
            <a:r>
              <a:rPr lang="en-US" spc="-5"/>
              <a:t>use or distribution</a:t>
            </a:r>
            <a:r>
              <a:rPr lang="en-US" spc="-75"/>
              <a:t> </a:t>
            </a:r>
            <a:r>
              <a:rPr lang="en-US" spc="-5"/>
              <a:t>prohibited</a:t>
            </a:r>
            <a:endParaRPr lang="en-US" spc="-5" dirty="0"/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8" name="Oval 7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1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6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9" name="Oval 8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rgbClr val="FFFFFF"/>
                </a:solidFill>
                <a:latin typeface="+mj-lt"/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279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 cap="all" baseline="0">
          <a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6350" ty="-127000" sx="65000" sy="64000" flip="none" algn="tl"/>
          </a:blip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13.xml"/><Relationship Id="rId7" Type="http://schemas.openxmlformats.org/officeDocument/2006/relationships/diagramLayout" Target="../diagrams/layout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diagramData" Target="../diagrams/data1.xml"/><Relationship Id="rId5" Type="http://schemas.openxmlformats.org/officeDocument/2006/relationships/image" Target="../media/image7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.bin"/><Relationship Id="rId9" Type="http://schemas.openxmlformats.org/officeDocument/2006/relationships/diagramColors" Target="../diagrams/colors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144397-F169-4060-8288-604BD14599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nalytics In Telecom – An Overview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692570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E2303B7-C17B-433F-AD89-7F4BD2095E33}"/>
              </a:ext>
            </a:extLst>
          </p:cNvPr>
          <p:cNvSpPr/>
          <p:nvPr/>
        </p:nvSpPr>
        <p:spPr>
          <a:xfrm>
            <a:off x="1219200" y="1972311"/>
            <a:ext cx="2362200" cy="72186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051E259-7324-4731-A432-A3B79A745E6E}"/>
              </a:ext>
            </a:extLst>
          </p:cNvPr>
          <p:cNvSpPr/>
          <p:nvPr/>
        </p:nvSpPr>
        <p:spPr>
          <a:xfrm>
            <a:off x="1219200" y="3082021"/>
            <a:ext cx="2362200" cy="72186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803A3CD-BFD5-4A0D-942F-FFE829C362A3}"/>
              </a:ext>
            </a:extLst>
          </p:cNvPr>
          <p:cNvSpPr/>
          <p:nvPr/>
        </p:nvSpPr>
        <p:spPr>
          <a:xfrm>
            <a:off x="1219200" y="4279667"/>
            <a:ext cx="2362200" cy="72186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0" name="Object 49" hidden="1">
            <a:extLst>
              <a:ext uri="{FF2B5EF4-FFF2-40B4-BE49-F238E27FC236}">
                <a16:creationId xmlns:a16="http://schemas.microsoft.com/office/drawing/2014/main" id="{26158F60-C868-447D-88E3-86430FBED0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0" name="Object 49" hidden="1">
                        <a:extLst>
                          <a:ext uri="{FF2B5EF4-FFF2-40B4-BE49-F238E27FC236}">
                            <a16:creationId xmlns:a16="http://schemas.microsoft.com/office/drawing/2014/main" id="{26158F60-C868-447D-88E3-86430FBED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7FB018B3-A52A-44A7-8724-FB4D74B6901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609585">
              <a:spcBef>
                <a:spcPct val="0"/>
              </a:spcBef>
              <a:spcAft>
                <a:spcPct val="0"/>
              </a:spcAft>
              <a:defRPr/>
            </a:pPr>
            <a:endParaRPr lang="en-US" sz="2933" dirty="0">
              <a:solidFill>
                <a:srgbClr val="A8BBC0"/>
              </a:solidFill>
              <a:latin typeface="Nokia Pure Headline Light" panose="020B0304040602060303" pitchFamily="34" charset="0"/>
              <a:ea typeface="ヒラギノ角ゴ Pro W3"/>
              <a:cs typeface="Arial" panose="020B0604020202020204" pitchFamily="34" charset="0"/>
              <a:sym typeface="Nokia Pure Headline Light" panose="020B0304040602060303" pitchFamily="34" charset="0"/>
            </a:endParaRPr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8D3E967E-F30A-40F0-9846-F9E5BEBEA396}"/>
              </a:ext>
            </a:extLst>
          </p:cNvPr>
          <p:cNvSpPr/>
          <p:nvPr/>
        </p:nvSpPr>
        <p:spPr>
          <a:xfrm>
            <a:off x="370667" y="383497"/>
            <a:ext cx="6086555" cy="410913"/>
          </a:xfrm>
          <a:prstGeom prst="rightArrow">
            <a:avLst>
              <a:gd name="adj1" fmla="val 100000"/>
              <a:gd name="adj2" fmla="val 4697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ctr" anchorCtr="0"/>
          <a:lstStyle/>
          <a:p>
            <a:pPr algn="ctr" defTabSz="609585">
              <a:defRPr/>
            </a:pPr>
            <a:r>
              <a:rPr lang="en-IN" sz="2400" dirty="0">
                <a:solidFill>
                  <a:srgbClr val="A8BB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sible Evolution Use cas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52F12A6-6C70-47C3-9FF7-9DA246EC16DD}"/>
              </a:ext>
            </a:extLst>
          </p:cNvPr>
          <p:cNvSpPr txBox="1"/>
          <p:nvPr/>
        </p:nvSpPr>
        <p:spPr>
          <a:xfrm>
            <a:off x="1219200" y="1972311"/>
            <a:ext cx="22586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Segmented Marketing &amp; Offer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811CD5D-D7B2-4C79-9CE5-406220680744}"/>
              </a:ext>
            </a:extLst>
          </p:cNvPr>
          <p:cNvSpPr txBox="1"/>
          <p:nvPr/>
        </p:nvSpPr>
        <p:spPr>
          <a:xfrm>
            <a:off x="1219200" y="3242340"/>
            <a:ext cx="259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Churn Predic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BDC3123-F8CD-4431-A81E-E32A0B0EF900}"/>
              </a:ext>
            </a:extLst>
          </p:cNvPr>
          <p:cNvSpPr txBox="1"/>
          <p:nvPr/>
        </p:nvSpPr>
        <p:spPr>
          <a:xfrm>
            <a:off x="1219200" y="4306669"/>
            <a:ext cx="23844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Human managed telecom network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841BE39-5095-406C-A284-E7F4B96AF895}"/>
              </a:ext>
            </a:extLst>
          </p:cNvPr>
          <p:cNvSpPr/>
          <p:nvPr/>
        </p:nvSpPr>
        <p:spPr>
          <a:xfrm>
            <a:off x="5029200" y="1972311"/>
            <a:ext cx="2362200" cy="72186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ized connect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8F8784C-D5D5-42E1-8F16-CAB7DE8AB4FB}"/>
              </a:ext>
            </a:extLst>
          </p:cNvPr>
          <p:cNvSpPr/>
          <p:nvPr/>
        </p:nvSpPr>
        <p:spPr>
          <a:xfrm>
            <a:off x="5029200" y="3122077"/>
            <a:ext cx="2362200" cy="72186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 churn along with RCA &amp; possible action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7A196CF-2114-44D8-BF90-943214958056}"/>
              </a:ext>
            </a:extLst>
          </p:cNvPr>
          <p:cNvSpPr/>
          <p:nvPr/>
        </p:nvSpPr>
        <p:spPr>
          <a:xfrm>
            <a:off x="5029200" y="4279667"/>
            <a:ext cx="2362200" cy="721863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f Organizing &amp; Healing Network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AB8C53-CB11-4174-B4C3-0B6DF129630E}"/>
              </a:ext>
            </a:extLst>
          </p:cNvPr>
          <p:cNvSpPr/>
          <p:nvPr/>
        </p:nvSpPr>
        <p:spPr>
          <a:xfrm>
            <a:off x="8823160" y="1972311"/>
            <a:ext cx="2362200" cy="302921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Bring real value to the custom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Reduce the response time between insight to a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Many other potential value and the opportunities are unlimit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EEF674-5F0E-41F8-AED8-325A85EF1EB7}"/>
              </a:ext>
            </a:extLst>
          </p:cNvPr>
          <p:cNvSpPr txBox="1"/>
          <p:nvPr/>
        </p:nvSpPr>
        <p:spPr>
          <a:xfrm>
            <a:off x="5334000" y="1535669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Evolved stat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14BF191-361F-4FCF-B4B9-A7FA8CBA9641}"/>
              </a:ext>
            </a:extLst>
          </p:cNvPr>
          <p:cNvSpPr txBox="1"/>
          <p:nvPr/>
        </p:nvSpPr>
        <p:spPr>
          <a:xfrm>
            <a:off x="1905000" y="1537006"/>
            <a:ext cx="129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As Is state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514F892-16B6-4379-BDB8-802BA0ADB763}"/>
              </a:ext>
            </a:extLst>
          </p:cNvPr>
          <p:cNvSpPr txBox="1"/>
          <p:nvPr/>
        </p:nvSpPr>
        <p:spPr>
          <a:xfrm>
            <a:off x="9476231" y="1541082"/>
            <a:ext cx="99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Lead to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4AEBD17-9527-4B0F-98E1-1C6D3AA31B1D}"/>
              </a:ext>
            </a:extLst>
          </p:cNvPr>
          <p:cNvSpPr/>
          <p:nvPr/>
        </p:nvSpPr>
        <p:spPr>
          <a:xfrm>
            <a:off x="875628" y="1078095"/>
            <a:ext cx="7277772" cy="4484505"/>
          </a:xfrm>
          <a:prstGeom prst="roundRect">
            <a:avLst>
              <a:gd name="adj" fmla="val 1775"/>
            </a:avLst>
          </a:prstGeom>
          <a:noFill/>
          <a:ln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CBA39CAF-5EC5-4DCC-A15C-D1AEFDF4B471}"/>
              </a:ext>
            </a:extLst>
          </p:cNvPr>
          <p:cNvSpPr/>
          <p:nvPr/>
        </p:nvSpPr>
        <p:spPr>
          <a:xfrm>
            <a:off x="3702852" y="2205013"/>
            <a:ext cx="1196926" cy="369332"/>
          </a:xfrm>
          <a:prstGeom prst="rightArrow">
            <a:avLst>
              <a:gd name="adj1" fmla="val 100000"/>
              <a:gd name="adj2" fmla="val 69151"/>
            </a:avLst>
          </a:prstGeom>
          <a:solidFill>
            <a:schemeClr val="bg1"/>
          </a:solidFill>
          <a:ln w="3175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3CBCAEFD-23BC-478E-BBE0-5E69659912F8}"/>
              </a:ext>
            </a:extLst>
          </p:cNvPr>
          <p:cNvSpPr/>
          <p:nvPr/>
        </p:nvSpPr>
        <p:spPr>
          <a:xfrm>
            <a:off x="3702852" y="3212068"/>
            <a:ext cx="1196926" cy="369332"/>
          </a:xfrm>
          <a:prstGeom prst="rightArrow">
            <a:avLst>
              <a:gd name="adj1" fmla="val 100000"/>
              <a:gd name="adj2" fmla="val 69151"/>
            </a:avLst>
          </a:prstGeom>
          <a:solidFill>
            <a:schemeClr val="bg1"/>
          </a:solidFill>
          <a:ln w="3175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50D60B0D-2CD1-40F8-8E52-DA8E5E7AA5E1}"/>
              </a:ext>
            </a:extLst>
          </p:cNvPr>
          <p:cNvSpPr/>
          <p:nvPr/>
        </p:nvSpPr>
        <p:spPr>
          <a:xfrm>
            <a:off x="3702852" y="4369258"/>
            <a:ext cx="1196926" cy="369332"/>
          </a:xfrm>
          <a:prstGeom prst="rightArrow">
            <a:avLst>
              <a:gd name="adj1" fmla="val 100000"/>
              <a:gd name="adj2" fmla="val 69151"/>
            </a:avLst>
          </a:prstGeom>
          <a:solidFill>
            <a:schemeClr val="bg1"/>
          </a:solidFill>
          <a:ln w="3175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154095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2A32FF1-F5EC-44D6-B36C-A4B5AAF8F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481" y="1972311"/>
            <a:ext cx="3498667" cy="2456485"/>
          </a:xfrm>
          <a:ln>
            <a:solidFill>
              <a:schemeClr val="accent4"/>
            </a:solidFill>
            <a:prstDash val="sysDot"/>
          </a:ln>
        </p:spPr>
        <p:txBody>
          <a:bodyPr/>
          <a:lstStyle/>
          <a:p>
            <a:r>
              <a:rPr lang="en-US" dirty="0"/>
              <a:t>Towards a Better Network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4574F7-3455-46E6-BB69-3FF905C7EE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2341" y="1651911"/>
            <a:ext cx="4896787" cy="4640881"/>
          </a:xfrm>
        </p:spPr>
        <p:txBody>
          <a:bodyPr>
            <a:normAutofit/>
          </a:bodyPr>
          <a:lstStyle/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Capacity Recommendation/Augmentation</a:t>
            </a:r>
          </a:p>
          <a:p>
            <a:pPr marL="742950" lvl="1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Build a model based on the past network usage and suggest for the augmentation of network elements to meet the ever increasing demands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dirty="0">
              <a:latin typeface="+mj-lt"/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Predict Network KPIs</a:t>
            </a:r>
          </a:p>
          <a:p>
            <a:pPr marL="742950" lvl="1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Model that can help to understand how the Network KPIs shall evolve based on performance indicators</a:t>
            </a:r>
          </a:p>
          <a:p>
            <a:pPr marL="742950" lvl="1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dirty="0">
              <a:latin typeface="+mj-lt"/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Outage and Root cause analysis</a:t>
            </a:r>
          </a:p>
          <a:p>
            <a:pPr marL="742950" lvl="1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Association model which can help to identify RCA based on the combination of Network Logs, PM Counters and Configuration Changes</a:t>
            </a:r>
          </a:p>
          <a:p>
            <a:endParaRPr lang="en-US" dirty="0">
              <a:latin typeface="+mj-lt"/>
            </a:endParaRP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788D0345-C0DB-495A-BFDE-6697043A6D5D}"/>
              </a:ext>
            </a:extLst>
          </p:cNvPr>
          <p:cNvSpPr/>
          <p:nvPr/>
        </p:nvSpPr>
        <p:spPr>
          <a:xfrm>
            <a:off x="363849" y="397658"/>
            <a:ext cx="6769489" cy="411136"/>
          </a:xfrm>
          <a:prstGeom prst="rightArrow">
            <a:avLst>
              <a:gd name="adj1" fmla="val 100000"/>
              <a:gd name="adj2" fmla="val 39895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t" anchorCtr="0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667" b="0" i="0" u="none" strike="noStrike" kern="1200" cap="none" spc="0" normalizeH="0" baseline="0" noProof="0" dirty="0">
              <a:ln>
                <a:noFill/>
              </a:ln>
              <a:solidFill>
                <a:srgbClr val="A8BBC0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D44C08-1B55-4535-B0F7-4A98273096F2}"/>
              </a:ext>
            </a:extLst>
          </p:cNvPr>
          <p:cNvSpPr txBox="1"/>
          <p:nvPr/>
        </p:nvSpPr>
        <p:spPr>
          <a:xfrm>
            <a:off x="932330" y="386938"/>
            <a:ext cx="48365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Sample Analytics Use cases in Network Data</a:t>
            </a:r>
            <a:endParaRPr kumimoji="0" lang="en-IN" sz="18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1A8EFB5-D42E-495C-829B-CE4AE2EA26F3}"/>
              </a:ext>
            </a:extLst>
          </p:cNvPr>
          <p:cNvSpPr/>
          <p:nvPr/>
        </p:nvSpPr>
        <p:spPr>
          <a:xfrm>
            <a:off x="822342" y="1349074"/>
            <a:ext cx="4896787" cy="5246557"/>
          </a:xfrm>
          <a:prstGeom prst="rect">
            <a:avLst/>
          </a:prstGeom>
          <a:noFill/>
          <a:ln w="12700">
            <a:solidFill>
              <a:schemeClr val="accent4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t" anchorCtr="0"/>
          <a:lstStyle/>
          <a:p>
            <a:pPr algn="ctr" defTabSz="609585">
              <a:defRPr/>
            </a:pPr>
            <a:endParaRPr lang="en-IN" sz="2400" dirty="0">
              <a:solidFill>
                <a:srgbClr val="A8BBC0"/>
              </a:solidFill>
              <a:latin typeface="Nokia Pure Text Light"/>
            </a:endParaRPr>
          </a:p>
        </p:txBody>
      </p:sp>
    </p:spTree>
    <p:extLst>
      <p:ext uri="{BB962C8B-B14F-4D97-AF65-F5344CB8AC3E}">
        <p14:creationId xmlns:p14="http://schemas.microsoft.com/office/powerpoint/2010/main" val="2539116608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AFD56-E6AC-407B-9978-E7C2442B44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7800" y="2284286"/>
            <a:ext cx="2895600" cy="2585323"/>
          </a:xfrm>
        </p:spPr>
        <p:txBody>
          <a:bodyPr>
            <a:normAutofit fontScale="90000"/>
          </a:bodyPr>
          <a:lstStyle/>
          <a:p>
            <a:r>
              <a:rPr lang="en-US" dirty="0"/>
              <a:t>Various Touch Points</a:t>
            </a:r>
            <a:br>
              <a:rPr lang="en-US" dirty="0"/>
            </a:br>
            <a:r>
              <a:rPr lang="en-US" sz="2400" dirty="0"/>
              <a:t>(not an exhaustive one)</a:t>
            </a:r>
            <a:endParaRPr lang="en-IN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C8929B-B5C0-471F-B66D-91B3CCDAEF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55302" y="1323039"/>
            <a:ext cx="5950036" cy="3508653"/>
          </a:xfrm>
        </p:spPr>
        <p:txBody>
          <a:bodyPr>
            <a:normAutofit/>
          </a:bodyPr>
          <a:lstStyle/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Typical Customer details during sign up</a:t>
            </a:r>
          </a:p>
          <a:p>
            <a:pPr marL="742950" lvl="1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Base </a:t>
            </a:r>
            <a:r>
              <a:rPr lang="en-US" dirty="0" err="1">
                <a:latin typeface="+mj-lt"/>
              </a:rPr>
              <a:t>location,Gender,Age,Occupation,Plan</a:t>
            </a:r>
            <a:r>
              <a:rPr lang="en-US" dirty="0">
                <a:latin typeface="+mj-lt"/>
              </a:rPr>
              <a:t> details </a:t>
            </a:r>
            <a:r>
              <a:rPr lang="en-US" dirty="0" err="1">
                <a:latin typeface="+mj-lt"/>
              </a:rPr>
              <a:t>etc</a:t>
            </a:r>
            <a:endParaRPr lang="en-US" dirty="0">
              <a:latin typeface="+mj-lt"/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Usage Pattern</a:t>
            </a:r>
          </a:p>
          <a:p>
            <a:pPr marL="742950" lvl="1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Type of service most used(Voice or Data)</a:t>
            </a:r>
          </a:p>
          <a:p>
            <a:pPr marL="742950" lvl="1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User </a:t>
            </a:r>
            <a:r>
              <a:rPr lang="en-US" dirty="0" err="1">
                <a:latin typeface="+mj-lt"/>
              </a:rPr>
              <a:t>Behaviour</a:t>
            </a:r>
            <a:r>
              <a:rPr lang="en-US" dirty="0">
                <a:latin typeface="+mj-lt"/>
              </a:rPr>
              <a:t>( </a:t>
            </a:r>
            <a:r>
              <a:rPr lang="en-US" dirty="0" err="1">
                <a:latin typeface="+mj-lt"/>
              </a:rPr>
              <a:t>eg</a:t>
            </a:r>
            <a:r>
              <a:rPr lang="en-US" dirty="0">
                <a:latin typeface="+mj-lt"/>
              </a:rPr>
              <a:t>: most active period of the day/week </a:t>
            </a:r>
            <a:r>
              <a:rPr lang="en-US" dirty="0" err="1">
                <a:latin typeface="+mj-lt"/>
              </a:rPr>
              <a:t>etc</a:t>
            </a:r>
            <a:r>
              <a:rPr lang="en-US" dirty="0">
                <a:latin typeface="+mj-lt"/>
              </a:rPr>
              <a:t>)</a:t>
            </a:r>
          </a:p>
          <a:p>
            <a:pPr marL="742950" lvl="1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Add on cards</a:t>
            </a:r>
          </a:p>
          <a:p>
            <a:pPr marL="742950" lvl="1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Average Spent </a:t>
            </a:r>
            <a:r>
              <a:rPr lang="en-US" dirty="0" err="1">
                <a:latin typeface="+mj-lt"/>
              </a:rPr>
              <a:t>etc</a:t>
            </a:r>
            <a:endParaRPr lang="en-US" dirty="0">
              <a:latin typeface="+mj-lt"/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Satisfaction Level</a:t>
            </a:r>
          </a:p>
          <a:p>
            <a:pPr marL="742950" lvl="1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Feedbacks/Surveys</a:t>
            </a:r>
          </a:p>
          <a:p>
            <a:pPr marL="742950" lvl="1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Number of Complaints raised</a:t>
            </a:r>
          </a:p>
          <a:p>
            <a:pPr marL="457200" lvl="1" indent="0">
              <a:buNone/>
            </a:pPr>
            <a:endParaRPr lang="en-US" dirty="0">
              <a:latin typeface="+mj-lt"/>
            </a:endParaRPr>
          </a:p>
          <a:p>
            <a:pPr lvl="1"/>
            <a:endParaRPr lang="en-US" dirty="0">
              <a:latin typeface="+mj-lt"/>
            </a:endParaRP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EB90BE5F-C086-491D-88FA-248F621CC714}"/>
              </a:ext>
            </a:extLst>
          </p:cNvPr>
          <p:cNvSpPr/>
          <p:nvPr/>
        </p:nvSpPr>
        <p:spPr>
          <a:xfrm>
            <a:off x="370667" y="411632"/>
            <a:ext cx="6086555" cy="410913"/>
          </a:xfrm>
          <a:prstGeom prst="rightArrow">
            <a:avLst>
              <a:gd name="adj1" fmla="val 100000"/>
              <a:gd name="adj2" fmla="val 4697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t" anchorCtr="0"/>
          <a:lstStyle/>
          <a:p>
            <a:pPr algn="ctr" defTabSz="609585">
              <a:defRPr/>
            </a:pPr>
            <a:endParaRPr lang="en-IN" sz="2400" dirty="0">
              <a:solidFill>
                <a:srgbClr val="A8BBC0"/>
              </a:solidFill>
              <a:latin typeface="Nokia Pure Text Ligh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81B7B0F-D556-4D5C-97B6-2CCCB0EB8EF8}"/>
              </a:ext>
            </a:extLst>
          </p:cNvPr>
          <p:cNvSpPr txBox="1"/>
          <p:nvPr/>
        </p:nvSpPr>
        <p:spPr>
          <a:xfrm>
            <a:off x="954619" y="368784"/>
            <a:ext cx="367280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67" dirty="0">
                <a:solidFill>
                  <a:srgbClr val="FFFFFF"/>
                </a:solidFill>
                <a:latin typeface="Nokia Pure Text Light"/>
              </a:rPr>
              <a:t>Customer Data at various stages</a:t>
            </a:r>
            <a:endParaRPr lang="en-IN" sz="1867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CAF0B471-3E0C-450C-B31E-D0DF683BF5FE}"/>
              </a:ext>
            </a:extLst>
          </p:cNvPr>
          <p:cNvSpPr txBox="1">
            <a:spLocks/>
          </p:cNvSpPr>
          <p:nvPr/>
        </p:nvSpPr>
        <p:spPr>
          <a:xfrm>
            <a:off x="1021365" y="2284286"/>
            <a:ext cx="3606054" cy="2744914"/>
          </a:xfrm>
          <a:prstGeom prst="rect">
            <a:avLst/>
          </a:prstGeom>
          <a:ln>
            <a:solidFill>
              <a:schemeClr val="accent4"/>
            </a:solidFill>
            <a:prstDash val="sysDot"/>
          </a:ln>
        </p:spPr>
        <p:txBody>
          <a:bodyPr vert="horz" lIns="228600" tIns="228600" rIns="228600" bIns="228600" rtlCol="0" anchor="ctr">
            <a:normAutofit/>
          </a:bodyPr>
          <a:lstStyle>
            <a:lvl1pPr algn="ct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b="0" i="0" kern="1200" cap="none" spc="-15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endParaRPr lang="en-IN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D777EC3-CF3D-408A-AF8F-5D13824F68D2}"/>
              </a:ext>
            </a:extLst>
          </p:cNvPr>
          <p:cNvSpPr/>
          <p:nvPr/>
        </p:nvSpPr>
        <p:spPr>
          <a:xfrm>
            <a:off x="5325098" y="1141090"/>
            <a:ext cx="5975741" cy="5246557"/>
          </a:xfrm>
          <a:prstGeom prst="rect">
            <a:avLst/>
          </a:prstGeom>
          <a:noFill/>
          <a:ln w="12700">
            <a:solidFill>
              <a:schemeClr val="accent4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t" anchorCtr="0"/>
          <a:lstStyle/>
          <a:p>
            <a:pPr algn="ctr" defTabSz="609585">
              <a:defRPr/>
            </a:pPr>
            <a:endParaRPr lang="en-IN" sz="2400" dirty="0">
              <a:solidFill>
                <a:srgbClr val="A8BBC0"/>
              </a:solidFill>
              <a:latin typeface="Nokia Pure Text Light"/>
            </a:endParaRPr>
          </a:p>
        </p:txBody>
      </p:sp>
    </p:spTree>
    <p:extLst>
      <p:ext uri="{BB962C8B-B14F-4D97-AF65-F5344CB8AC3E}">
        <p14:creationId xmlns:p14="http://schemas.microsoft.com/office/powerpoint/2010/main" val="724837728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2A32FF1-F5EC-44D6-B36C-A4B5AAF8F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481" y="1972311"/>
            <a:ext cx="3498667" cy="2456485"/>
          </a:xfrm>
          <a:ln>
            <a:solidFill>
              <a:schemeClr val="accent4"/>
            </a:solidFill>
            <a:prstDash val="sysDot"/>
          </a:ln>
        </p:spPr>
        <p:txBody>
          <a:bodyPr>
            <a:normAutofit fontScale="90000"/>
          </a:bodyPr>
          <a:lstStyle/>
          <a:p>
            <a:r>
              <a:rPr lang="en-US" dirty="0"/>
              <a:t>Towards a Better Customer Experience Management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4574F7-3455-46E6-BB69-3FF905C7EE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2341" y="1651911"/>
            <a:ext cx="4896787" cy="4640881"/>
          </a:xfrm>
        </p:spPr>
        <p:txBody>
          <a:bodyPr>
            <a:normAutofit/>
          </a:bodyPr>
          <a:lstStyle/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Churn Reduction</a:t>
            </a:r>
          </a:p>
          <a:p>
            <a:pPr marL="742950" lvl="1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Deploy model to identify possible off track customers and device engagements to win them back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dirty="0">
              <a:latin typeface="+mj-lt"/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Upselling Opportunities</a:t>
            </a:r>
          </a:p>
          <a:p>
            <a:pPr marL="742950" lvl="1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dirty="0">
              <a:latin typeface="+mj-lt"/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Location Based &amp; Other Value added Services</a:t>
            </a:r>
          </a:p>
          <a:p>
            <a:pPr marL="742950" lvl="1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Promote LBS based on the customer interest &amp; search pattern</a:t>
            </a:r>
          </a:p>
          <a:p>
            <a:endParaRPr lang="en-US" dirty="0">
              <a:latin typeface="+mj-lt"/>
            </a:endParaRP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788D0345-C0DB-495A-BFDE-6697043A6D5D}"/>
              </a:ext>
            </a:extLst>
          </p:cNvPr>
          <p:cNvSpPr/>
          <p:nvPr/>
        </p:nvSpPr>
        <p:spPr>
          <a:xfrm>
            <a:off x="363849" y="397658"/>
            <a:ext cx="6769489" cy="411136"/>
          </a:xfrm>
          <a:prstGeom prst="rightArrow">
            <a:avLst>
              <a:gd name="adj1" fmla="val 100000"/>
              <a:gd name="adj2" fmla="val 39895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t" anchorCtr="0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667" b="0" i="0" u="none" strike="noStrike" kern="1200" cap="none" spc="0" normalizeH="0" baseline="0" noProof="0" dirty="0">
              <a:ln>
                <a:noFill/>
              </a:ln>
              <a:solidFill>
                <a:srgbClr val="A8BBC0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D44C08-1B55-4535-B0F7-4A98273096F2}"/>
              </a:ext>
            </a:extLst>
          </p:cNvPr>
          <p:cNvSpPr txBox="1"/>
          <p:nvPr/>
        </p:nvSpPr>
        <p:spPr>
          <a:xfrm>
            <a:off x="932330" y="386938"/>
            <a:ext cx="5004896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Sample Analytics Use cases in Customer Data</a:t>
            </a:r>
            <a:endParaRPr kumimoji="0" lang="en-IN" sz="18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1A8EFB5-D42E-495C-829B-CE4AE2EA26F3}"/>
              </a:ext>
            </a:extLst>
          </p:cNvPr>
          <p:cNvSpPr/>
          <p:nvPr/>
        </p:nvSpPr>
        <p:spPr>
          <a:xfrm>
            <a:off x="822342" y="1349074"/>
            <a:ext cx="4896787" cy="5246557"/>
          </a:xfrm>
          <a:prstGeom prst="rect">
            <a:avLst/>
          </a:prstGeom>
          <a:noFill/>
          <a:ln w="12700">
            <a:solidFill>
              <a:schemeClr val="accent4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t" anchorCtr="0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A8BBC0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5622419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>
            <a:extLst>
              <a:ext uri="{FF2B5EF4-FFF2-40B4-BE49-F238E27FC236}">
                <a16:creationId xmlns:a16="http://schemas.microsoft.com/office/drawing/2014/main" id="{26158F60-C868-447D-88E3-86430FBED0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0" name="Object 49" hidden="1">
                        <a:extLst>
                          <a:ext uri="{FF2B5EF4-FFF2-40B4-BE49-F238E27FC236}">
                            <a16:creationId xmlns:a16="http://schemas.microsoft.com/office/drawing/2014/main" id="{26158F60-C868-447D-88E3-86430FBED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7FB018B3-A52A-44A7-8724-FB4D74B6901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609585">
              <a:spcBef>
                <a:spcPct val="0"/>
              </a:spcBef>
              <a:spcAft>
                <a:spcPct val="0"/>
              </a:spcAft>
              <a:defRPr/>
            </a:pPr>
            <a:endParaRPr lang="en-US" sz="2933" dirty="0">
              <a:solidFill>
                <a:srgbClr val="A8BBC0"/>
              </a:solidFill>
              <a:latin typeface="Nokia Pure Headline Light" panose="020B0304040602060303" pitchFamily="34" charset="0"/>
              <a:ea typeface="ヒラギノ角ゴ Pro W3"/>
              <a:cs typeface="Arial" panose="020B0604020202020204" pitchFamily="34" charset="0"/>
              <a:sym typeface="Nokia Pure Headline Light" panose="020B0304040602060303" pitchFamily="34" charset="0"/>
            </a:endParaRPr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8D3E967E-F30A-40F0-9846-F9E5BEBEA396}"/>
              </a:ext>
            </a:extLst>
          </p:cNvPr>
          <p:cNvSpPr/>
          <p:nvPr/>
        </p:nvSpPr>
        <p:spPr>
          <a:xfrm>
            <a:off x="370667" y="383497"/>
            <a:ext cx="6086555" cy="410913"/>
          </a:xfrm>
          <a:prstGeom prst="rightArrow">
            <a:avLst>
              <a:gd name="adj1" fmla="val 100000"/>
              <a:gd name="adj2" fmla="val 4697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ctr" anchorCtr="0"/>
          <a:lstStyle/>
          <a:p>
            <a:pPr algn="ctr" defTabSz="609585">
              <a:defRPr/>
            </a:pPr>
            <a:r>
              <a:rPr lang="en-IN" sz="2400" dirty="0">
                <a:solidFill>
                  <a:srgbClr val="A8BB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 –Need to ACT now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9645A64A-EC13-47EA-92A7-C52960975BC1}"/>
              </a:ext>
            </a:extLst>
          </p:cNvPr>
          <p:cNvGraphicFramePr/>
          <p:nvPr/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94503647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429000" y="2514600"/>
            <a:ext cx="4343400" cy="68865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pc="-15" dirty="0">
                <a:latin typeface="Rockwell Extra Bold" panose="02060903040505020403" pitchFamily="18" charset="0"/>
              </a:rPr>
              <a:t>Th</a:t>
            </a:r>
            <a:r>
              <a:rPr spc="-5" dirty="0">
                <a:latin typeface="Rockwell Extra Bold" panose="02060903040505020403" pitchFamily="18" charset="0"/>
              </a:rPr>
              <a:t>a</a:t>
            </a:r>
            <a:r>
              <a:rPr spc="-15" dirty="0">
                <a:latin typeface="Rockwell Extra Bold" panose="02060903040505020403" pitchFamily="18" charset="0"/>
              </a:rPr>
              <a:t>n</a:t>
            </a:r>
            <a:r>
              <a:rPr spc="-5" dirty="0">
                <a:latin typeface="Rockwell Extra Bold" panose="02060903040505020403" pitchFamily="18" charset="0"/>
              </a:rPr>
              <a:t>ks</a:t>
            </a:r>
          </a:p>
        </p:txBody>
      </p:sp>
    </p:spTree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A378823-6218-46AD-BABD-623F73673024}"/>
              </a:ext>
            </a:extLst>
          </p:cNvPr>
          <p:cNvSpPr txBox="1">
            <a:spLocks/>
          </p:cNvSpPr>
          <p:nvPr/>
        </p:nvSpPr>
        <p:spPr>
          <a:xfrm>
            <a:off x="-1148080" y="327918"/>
            <a:ext cx="6024880" cy="584775"/>
          </a:xfrm>
          <a:prstGeom prst="rect">
            <a:avLst/>
          </a:prstGeom>
        </p:spPr>
        <p:txBody>
          <a:bodyPr vert="horz" lIns="228600" tIns="228600" rIns="228600" bIns="228600" rtlCol="0" anchor="ctr">
            <a:noAutofit/>
          </a:bodyPr>
          <a:lstStyle>
            <a:lvl1pPr algn="ct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b="0" i="0" kern="1200" cap="none" spc="-150">
                <a:solidFill>
                  <a:srgbClr val="FFFEFF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IN" sz="2800" dirty="0">
                <a:solidFill>
                  <a:schemeClr val="accent4">
                    <a:lumMod val="75000"/>
                  </a:schemeClr>
                </a:solidFill>
              </a:rPr>
              <a:t>Evolution of Mobile Telecom </a:t>
            </a:r>
            <a:endParaRPr lang="en-IN" sz="28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AEFE7B-823F-4E25-9757-F94B39EDAD1B}"/>
              </a:ext>
            </a:extLst>
          </p:cNvPr>
          <p:cNvSpPr txBox="1"/>
          <p:nvPr/>
        </p:nvSpPr>
        <p:spPr>
          <a:xfrm>
            <a:off x="3115817" y="5125007"/>
            <a:ext cx="649376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+mj-lt"/>
              </a:rPr>
              <a:t>Technology keeps changing </a:t>
            </a:r>
            <a:r>
              <a:rPr lang="en-US" sz="2400" dirty="0" err="1">
                <a:latin typeface="+mj-lt"/>
              </a:rPr>
              <a:t>atleast</a:t>
            </a:r>
            <a:r>
              <a:rPr lang="en-US" sz="2400" dirty="0">
                <a:latin typeface="+mj-lt"/>
              </a:rPr>
              <a:t> once in 10 years</a:t>
            </a:r>
          </a:p>
          <a:p>
            <a:r>
              <a:rPr lang="en-US" sz="2400" dirty="0">
                <a:latin typeface="+mj-lt"/>
              </a:rPr>
              <a:t>What is 5G all about??</a:t>
            </a:r>
            <a:endParaRPr lang="en-IN" sz="2400" dirty="0">
              <a:latin typeface="+mj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5817" y="1336706"/>
            <a:ext cx="5342383" cy="3652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3977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BF2760-9527-0CED-E09E-A01BBBECC2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D61F44C-6027-EC80-085E-EFF0FB58778B}"/>
              </a:ext>
            </a:extLst>
          </p:cNvPr>
          <p:cNvSpPr/>
          <p:nvPr/>
        </p:nvSpPr>
        <p:spPr>
          <a:xfrm>
            <a:off x="8314592" y="1054416"/>
            <a:ext cx="2781300" cy="5192936"/>
          </a:xfrm>
          <a:prstGeom prst="roundRect">
            <a:avLst>
              <a:gd name="adj" fmla="val 1775"/>
            </a:avLst>
          </a:prstGeom>
          <a:noFill/>
          <a:ln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FAAE266-814B-1069-82CB-481AC16C14D0}"/>
              </a:ext>
            </a:extLst>
          </p:cNvPr>
          <p:cNvSpPr/>
          <p:nvPr/>
        </p:nvSpPr>
        <p:spPr>
          <a:xfrm>
            <a:off x="8695592" y="4408166"/>
            <a:ext cx="2057400" cy="1525707"/>
          </a:xfrm>
          <a:prstGeom prst="roundRect">
            <a:avLst>
              <a:gd name="adj" fmla="val 3758"/>
            </a:avLst>
          </a:prstGeom>
          <a:solidFill>
            <a:srgbClr val="241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B03972A-0283-C6A1-15DE-8C134ED67EDB}"/>
              </a:ext>
            </a:extLst>
          </p:cNvPr>
          <p:cNvSpPr/>
          <p:nvPr/>
        </p:nvSpPr>
        <p:spPr>
          <a:xfrm>
            <a:off x="8695592" y="1417130"/>
            <a:ext cx="2057400" cy="1525707"/>
          </a:xfrm>
          <a:prstGeom prst="roundRect">
            <a:avLst>
              <a:gd name="adj" fmla="val 3758"/>
            </a:avLst>
          </a:prstGeom>
          <a:solidFill>
            <a:srgbClr val="241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5737579-12A0-4065-5424-67F0397E4F5A}"/>
              </a:ext>
            </a:extLst>
          </p:cNvPr>
          <p:cNvSpPr/>
          <p:nvPr/>
        </p:nvSpPr>
        <p:spPr>
          <a:xfrm>
            <a:off x="4554417" y="2882065"/>
            <a:ext cx="1808283" cy="1525707"/>
          </a:xfrm>
          <a:prstGeom prst="roundRect">
            <a:avLst>
              <a:gd name="adj" fmla="val 3758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DDB891F-1A9C-0580-0357-4F26BE79D46D}"/>
              </a:ext>
            </a:extLst>
          </p:cNvPr>
          <p:cNvSpPr txBox="1">
            <a:spLocks/>
          </p:cNvSpPr>
          <p:nvPr/>
        </p:nvSpPr>
        <p:spPr>
          <a:xfrm>
            <a:off x="-1148080" y="327918"/>
            <a:ext cx="6024880" cy="584775"/>
          </a:xfrm>
          <a:prstGeom prst="rect">
            <a:avLst/>
          </a:prstGeom>
        </p:spPr>
        <p:txBody>
          <a:bodyPr vert="horz" lIns="228600" tIns="228600" rIns="228600" bIns="228600" rtlCol="0" anchor="ctr">
            <a:noAutofit/>
          </a:bodyPr>
          <a:lstStyle>
            <a:lvl1pPr algn="ct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b="0" i="0" kern="1200" cap="none" spc="-150">
                <a:solidFill>
                  <a:srgbClr val="FFFEFF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IN" sz="2800" dirty="0">
                <a:solidFill>
                  <a:schemeClr val="accent4">
                    <a:lumMod val="75000"/>
                  </a:schemeClr>
                </a:solidFill>
              </a:rPr>
              <a:t>What in store for </a:t>
            </a:r>
            <a:r>
              <a:rPr lang="en-IN" sz="2800" dirty="0" err="1">
                <a:solidFill>
                  <a:schemeClr val="accent4">
                    <a:lumMod val="75000"/>
                  </a:schemeClr>
                </a:solidFill>
              </a:rPr>
              <a:t>Telcos</a:t>
            </a:r>
            <a:r>
              <a:rPr lang="en-IN" sz="2800" dirty="0">
                <a:solidFill>
                  <a:schemeClr val="accent4">
                    <a:lumMod val="75000"/>
                  </a:schemeClr>
                </a:solidFill>
              </a:rPr>
              <a:t>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A4E359F-8C69-F4B6-2DE2-8C50EF1432DF}"/>
              </a:ext>
            </a:extLst>
          </p:cNvPr>
          <p:cNvSpPr txBox="1"/>
          <p:nvPr/>
        </p:nvSpPr>
        <p:spPr>
          <a:xfrm>
            <a:off x="5083670" y="3336283"/>
            <a:ext cx="8763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3200" dirty="0">
                <a:solidFill>
                  <a:schemeClr val="bg1"/>
                </a:solidFill>
              </a:rPr>
              <a:t>5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8ECD3B-5EE4-7EE2-E502-E2E1B1EF4322}"/>
              </a:ext>
            </a:extLst>
          </p:cNvPr>
          <p:cNvSpPr txBox="1"/>
          <p:nvPr/>
        </p:nvSpPr>
        <p:spPr>
          <a:xfrm>
            <a:off x="8962292" y="4942430"/>
            <a:ext cx="1371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>
                <a:solidFill>
                  <a:schemeClr val="bg1"/>
                </a:solidFill>
              </a:rPr>
              <a:t>Analytic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7533C2-D8ED-8B0C-8F8B-028A143846D9}"/>
              </a:ext>
            </a:extLst>
          </p:cNvPr>
          <p:cNvSpPr txBox="1"/>
          <p:nvPr/>
        </p:nvSpPr>
        <p:spPr>
          <a:xfrm>
            <a:off x="8909538" y="1987112"/>
            <a:ext cx="15767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>
                <a:solidFill>
                  <a:schemeClr val="bg1"/>
                </a:solidFill>
              </a:rPr>
              <a:t>Digitiz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5865D3-7186-3AA0-D2D8-CFC0804C1F33}"/>
              </a:ext>
            </a:extLst>
          </p:cNvPr>
          <p:cNvSpPr txBox="1"/>
          <p:nvPr/>
        </p:nvSpPr>
        <p:spPr>
          <a:xfrm>
            <a:off x="8695592" y="3336283"/>
            <a:ext cx="21457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D&amp;A shall define telecom future??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213697D-D753-E4D0-21A3-091ED991A1C9}"/>
              </a:ext>
            </a:extLst>
          </p:cNvPr>
          <p:cNvCxnSpPr>
            <a:cxnSpLocks/>
            <a:stCxn id="12" idx="3"/>
            <a:endCxn id="3" idx="1"/>
          </p:cNvCxnSpPr>
          <p:nvPr/>
        </p:nvCxnSpPr>
        <p:spPr>
          <a:xfrm flipV="1">
            <a:off x="6362700" y="2179984"/>
            <a:ext cx="2332892" cy="1464935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23C7F83-1CDD-C47A-0540-8E97B1414069}"/>
              </a:ext>
            </a:extLst>
          </p:cNvPr>
          <p:cNvCxnSpPr>
            <a:cxnSpLocks/>
            <a:stCxn id="12" idx="3"/>
            <a:endCxn id="11" idx="1"/>
          </p:cNvCxnSpPr>
          <p:nvPr/>
        </p:nvCxnSpPr>
        <p:spPr>
          <a:xfrm>
            <a:off x="6362700" y="3644919"/>
            <a:ext cx="2332892" cy="1526101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BCA6FFB-B412-3CCB-E92C-2C22CB76C804}"/>
              </a:ext>
            </a:extLst>
          </p:cNvPr>
          <p:cNvSpPr/>
          <p:nvPr/>
        </p:nvSpPr>
        <p:spPr>
          <a:xfrm>
            <a:off x="467458" y="1066800"/>
            <a:ext cx="2781300" cy="5192936"/>
          </a:xfrm>
          <a:prstGeom prst="roundRect">
            <a:avLst>
              <a:gd name="adj" fmla="val 1775"/>
            </a:avLst>
          </a:prstGeom>
          <a:noFill/>
          <a:ln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0CEE4E7-FF8C-31D8-F05E-5C3BA160B14E}"/>
              </a:ext>
            </a:extLst>
          </p:cNvPr>
          <p:cNvSpPr txBox="1"/>
          <p:nvPr/>
        </p:nvSpPr>
        <p:spPr>
          <a:xfrm>
            <a:off x="798635" y="1868617"/>
            <a:ext cx="211894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Evolve beyond 4G/L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Increased customer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Monetise existing b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Capital investment on right areas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7C09307B-68FF-5C0B-67F3-37538953622F}"/>
              </a:ext>
            </a:extLst>
          </p:cNvPr>
          <p:cNvCxnSpPr>
            <a:stCxn id="21" idx="3"/>
            <a:endCxn id="12" idx="1"/>
          </p:cNvCxnSpPr>
          <p:nvPr/>
        </p:nvCxnSpPr>
        <p:spPr>
          <a:xfrm flipV="1">
            <a:off x="3248758" y="3644919"/>
            <a:ext cx="1305659" cy="0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FF720AF1-36C5-94CC-1266-5460BC4FBCCB}"/>
              </a:ext>
            </a:extLst>
          </p:cNvPr>
          <p:cNvSpPr/>
          <p:nvPr/>
        </p:nvSpPr>
        <p:spPr>
          <a:xfrm>
            <a:off x="370667" y="411632"/>
            <a:ext cx="6086555" cy="410913"/>
          </a:xfrm>
          <a:prstGeom prst="rightArrow">
            <a:avLst>
              <a:gd name="adj1" fmla="val 100000"/>
              <a:gd name="adj2" fmla="val 4697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t" anchorCtr="0"/>
          <a:lstStyle/>
          <a:p>
            <a:pPr algn="ctr" defTabSz="609585">
              <a:defRPr/>
            </a:pPr>
            <a:endParaRPr lang="en-IN" sz="2400" dirty="0">
              <a:solidFill>
                <a:srgbClr val="A8BB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1B656C0-B22E-69E2-4C53-870011852BB2}"/>
              </a:ext>
            </a:extLst>
          </p:cNvPr>
          <p:cNvSpPr txBox="1"/>
          <p:nvPr/>
        </p:nvSpPr>
        <p:spPr>
          <a:xfrm>
            <a:off x="954619" y="368784"/>
            <a:ext cx="3260444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6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in store for Telecom?</a:t>
            </a:r>
            <a:endParaRPr lang="en-IN" sz="1867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81BFF17-CA1A-2BAD-3DDC-63D1C6BE7ED9}"/>
              </a:ext>
            </a:extLst>
          </p:cNvPr>
          <p:cNvSpPr txBox="1"/>
          <p:nvPr/>
        </p:nvSpPr>
        <p:spPr>
          <a:xfrm>
            <a:off x="4554417" y="4766801"/>
            <a:ext cx="18082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Lets also see why there is so much fuzz about 5G?</a:t>
            </a:r>
          </a:p>
        </p:txBody>
      </p:sp>
    </p:spTree>
    <p:extLst>
      <p:ext uri="{BB962C8B-B14F-4D97-AF65-F5344CB8AC3E}">
        <p14:creationId xmlns:p14="http://schemas.microsoft.com/office/powerpoint/2010/main" val="36656520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89CD10-9B09-B3A3-E9F3-5CDBA5522A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79EA15BE-3186-4380-CB8A-968F6E0A02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5620AC72-046A-4007-8704-3C625AED92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49B80CD6-1733-A3F9-E1A2-8DD0515402C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609585">
              <a:spcBef>
                <a:spcPct val="0"/>
              </a:spcBef>
              <a:spcAft>
                <a:spcPct val="0"/>
              </a:spcAft>
              <a:defRPr/>
            </a:pPr>
            <a:endParaRPr lang="en-IN" sz="3200" dirty="0">
              <a:solidFill>
                <a:srgbClr val="A8BBC0"/>
              </a:solidFill>
              <a:latin typeface="Nokia Pure Headline Light" panose="020B0304040602060303" pitchFamily="34" charset="0"/>
              <a:sym typeface="Nokia Pure Headline Light" panose="020B03040406020603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10283C3-D2C4-36D3-FA17-569BCAA44861}"/>
              </a:ext>
            </a:extLst>
          </p:cNvPr>
          <p:cNvGrpSpPr/>
          <p:nvPr/>
        </p:nvGrpSpPr>
        <p:grpSpPr>
          <a:xfrm>
            <a:off x="482272" y="1330909"/>
            <a:ext cx="9260510" cy="4815891"/>
            <a:chOff x="572247" y="1392169"/>
            <a:chExt cx="5704465" cy="2998856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879C011-0217-A300-28AB-DD11609FAB3B}"/>
                </a:ext>
              </a:extLst>
            </p:cNvPr>
            <p:cNvGrpSpPr/>
            <p:nvPr/>
          </p:nvGrpSpPr>
          <p:grpSpPr>
            <a:xfrm>
              <a:off x="572247" y="1392169"/>
              <a:ext cx="5679059" cy="2998856"/>
              <a:chOff x="524604" y="698363"/>
              <a:chExt cx="8083371" cy="3756432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F8566889-53D0-738B-3913-5DCB3817902B}"/>
                  </a:ext>
                </a:extLst>
              </p:cNvPr>
              <p:cNvGrpSpPr/>
              <p:nvPr/>
            </p:nvGrpSpPr>
            <p:grpSpPr>
              <a:xfrm>
                <a:off x="3233917" y="1339229"/>
                <a:ext cx="2676165" cy="2540970"/>
                <a:chOff x="2741655" y="979470"/>
                <a:chExt cx="3581398" cy="3614056"/>
              </a:xfrm>
            </p:grpSpPr>
            <p:sp>
              <p:nvSpPr>
                <p:cNvPr id="14" name="Freeform: Shape 13">
                  <a:extLst>
                    <a:ext uri="{FF2B5EF4-FFF2-40B4-BE49-F238E27FC236}">
                      <a16:creationId xmlns:a16="http://schemas.microsoft.com/office/drawing/2014/main" id="{2D48DAB3-7B6B-02F4-4C3E-01DB04C71174}"/>
                    </a:ext>
                  </a:extLst>
                </p:cNvPr>
                <p:cNvSpPr/>
                <p:nvPr/>
              </p:nvSpPr>
              <p:spPr>
                <a:xfrm>
                  <a:off x="2741655" y="2799858"/>
                  <a:ext cx="1747157" cy="1793668"/>
                </a:xfrm>
                <a:custGeom>
                  <a:avLst/>
                  <a:gdLst>
                    <a:gd name="connsiteX0" fmla="*/ 3132 w 2329543"/>
                    <a:gd name="connsiteY0" fmla="*/ 0 h 2391557"/>
                    <a:gd name="connsiteX1" fmla="*/ 2329543 w 2329543"/>
                    <a:gd name="connsiteY1" fmla="*/ 0 h 2391557"/>
                    <a:gd name="connsiteX2" fmla="*/ 2329543 w 2329543"/>
                    <a:gd name="connsiteY2" fmla="*/ 2391557 h 2391557"/>
                    <a:gd name="connsiteX3" fmla="*/ 0 w 2329543"/>
                    <a:gd name="connsiteY3" fmla="*/ 62014 h 2391557"/>
                    <a:gd name="connsiteX4" fmla="*/ 3132 w 2329543"/>
                    <a:gd name="connsiteY4" fmla="*/ 0 h 2391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29543" h="2391557">
                      <a:moveTo>
                        <a:pt x="3132" y="0"/>
                      </a:moveTo>
                      <a:lnTo>
                        <a:pt x="2329543" y="0"/>
                      </a:lnTo>
                      <a:lnTo>
                        <a:pt x="2329543" y="2391557"/>
                      </a:lnTo>
                      <a:cubicBezTo>
                        <a:pt x="1042972" y="2391557"/>
                        <a:pt x="0" y="1348585"/>
                        <a:pt x="0" y="62014"/>
                      </a:cubicBezTo>
                      <a:lnTo>
                        <a:pt x="313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IN" sz="4800" dirty="0" err="1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" name="Freeform: Shape 12">
                  <a:extLst>
                    <a:ext uri="{FF2B5EF4-FFF2-40B4-BE49-F238E27FC236}">
                      <a16:creationId xmlns:a16="http://schemas.microsoft.com/office/drawing/2014/main" id="{EF499010-8626-8E74-9459-D4448F39FA7B}"/>
                    </a:ext>
                  </a:extLst>
                </p:cNvPr>
                <p:cNvSpPr/>
                <p:nvPr/>
              </p:nvSpPr>
              <p:spPr>
                <a:xfrm>
                  <a:off x="4575896" y="2799858"/>
                  <a:ext cx="1747157" cy="1793668"/>
                </a:xfrm>
                <a:custGeom>
                  <a:avLst/>
                  <a:gdLst>
                    <a:gd name="connsiteX0" fmla="*/ 0 w 2329543"/>
                    <a:gd name="connsiteY0" fmla="*/ 0 h 2391557"/>
                    <a:gd name="connsiteX1" fmla="*/ 2326412 w 2329543"/>
                    <a:gd name="connsiteY1" fmla="*/ 0 h 2391557"/>
                    <a:gd name="connsiteX2" fmla="*/ 2329543 w 2329543"/>
                    <a:gd name="connsiteY2" fmla="*/ 62014 h 2391557"/>
                    <a:gd name="connsiteX3" fmla="*/ 0 w 2329543"/>
                    <a:gd name="connsiteY3" fmla="*/ 2391557 h 2391557"/>
                    <a:gd name="connsiteX4" fmla="*/ 0 w 2329543"/>
                    <a:gd name="connsiteY4" fmla="*/ 0 h 2391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29543" h="2391557">
                      <a:moveTo>
                        <a:pt x="0" y="0"/>
                      </a:moveTo>
                      <a:lnTo>
                        <a:pt x="2326412" y="0"/>
                      </a:lnTo>
                      <a:lnTo>
                        <a:pt x="2329543" y="62014"/>
                      </a:lnTo>
                      <a:cubicBezTo>
                        <a:pt x="2329543" y="1348585"/>
                        <a:pt x="1286571" y="2391557"/>
                        <a:pt x="0" y="2391557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IN" sz="1867" dirty="0" err="1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" name="Freeform: Shape 11">
                  <a:extLst>
                    <a:ext uri="{FF2B5EF4-FFF2-40B4-BE49-F238E27FC236}">
                      <a16:creationId xmlns:a16="http://schemas.microsoft.com/office/drawing/2014/main" id="{EF92931B-863F-C5AE-21E2-AA2D484553D5}"/>
                    </a:ext>
                  </a:extLst>
                </p:cNvPr>
                <p:cNvSpPr/>
                <p:nvPr/>
              </p:nvSpPr>
              <p:spPr>
                <a:xfrm>
                  <a:off x="2744004" y="979470"/>
                  <a:ext cx="1744808" cy="1700647"/>
                </a:xfrm>
                <a:custGeom>
                  <a:avLst/>
                  <a:gdLst>
                    <a:gd name="connsiteX0" fmla="*/ 2326411 w 2326411"/>
                    <a:gd name="connsiteY0" fmla="*/ 0 h 2267529"/>
                    <a:gd name="connsiteX1" fmla="*/ 2326411 w 2326411"/>
                    <a:gd name="connsiteY1" fmla="*/ 2267529 h 2267529"/>
                    <a:gd name="connsiteX2" fmla="*/ 0 w 2326411"/>
                    <a:gd name="connsiteY2" fmla="*/ 2267529 h 2267529"/>
                    <a:gd name="connsiteX3" fmla="*/ 8895 w 2326411"/>
                    <a:gd name="connsiteY3" fmla="*/ 2091361 h 2267529"/>
                    <a:gd name="connsiteX4" fmla="*/ 2326411 w 2326411"/>
                    <a:gd name="connsiteY4" fmla="*/ 0 h 2267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26411" h="2267529">
                      <a:moveTo>
                        <a:pt x="2326411" y="0"/>
                      </a:moveTo>
                      <a:lnTo>
                        <a:pt x="2326411" y="2267529"/>
                      </a:lnTo>
                      <a:lnTo>
                        <a:pt x="0" y="2267529"/>
                      </a:lnTo>
                      <a:lnTo>
                        <a:pt x="8895" y="2091361"/>
                      </a:lnTo>
                      <a:cubicBezTo>
                        <a:pt x="128191" y="916675"/>
                        <a:pt x="1120251" y="0"/>
                        <a:pt x="2326411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IN" sz="1867" dirty="0" err="1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" name="Freeform: Shape 10">
                  <a:extLst>
                    <a:ext uri="{FF2B5EF4-FFF2-40B4-BE49-F238E27FC236}">
                      <a16:creationId xmlns:a16="http://schemas.microsoft.com/office/drawing/2014/main" id="{DD91932D-CAB6-80BD-48E2-D0334B53E1DC}"/>
                    </a:ext>
                  </a:extLst>
                </p:cNvPr>
                <p:cNvSpPr/>
                <p:nvPr/>
              </p:nvSpPr>
              <p:spPr>
                <a:xfrm>
                  <a:off x="4575896" y="979470"/>
                  <a:ext cx="1744809" cy="1700647"/>
                </a:xfrm>
                <a:custGeom>
                  <a:avLst/>
                  <a:gdLst>
                    <a:gd name="connsiteX0" fmla="*/ 0 w 2326412"/>
                    <a:gd name="connsiteY0" fmla="*/ 0 h 2267529"/>
                    <a:gd name="connsiteX1" fmla="*/ 2317516 w 2326412"/>
                    <a:gd name="connsiteY1" fmla="*/ 2091361 h 2267529"/>
                    <a:gd name="connsiteX2" fmla="*/ 2326412 w 2326412"/>
                    <a:gd name="connsiteY2" fmla="*/ 2267529 h 2267529"/>
                    <a:gd name="connsiteX3" fmla="*/ 0 w 2326412"/>
                    <a:gd name="connsiteY3" fmla="*/ 2267529 h 2267529"/>
                    <a:gd name="connsiteX4" fmla="*/ 0 w 2326412"/>
                    <a:gd name="connsiteY4" fmla="*/ 0 h 2267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26412" h="2267529">
                      <a:moveTo>
                        <a:pt x="0" y="0"/>
                      </a:moveTo>
                      <a:cubicBezTo>
                        <a:pt x="1206161" y="0"/>
                        <a:pt x="2198220" y="916675"/>
                        <a:pt x="2317516" y="2091361"/>
                      </a:cubicBezTo>
                      <a:lnTo>
                        <a:pt x="2326412" y="2267529"/>
                      </a:lnTo>
                      <a:lnTo>
                        <a:pt x="0" y="226752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IN" sz="1867" dirty="0" err="1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CD4E87D3-1A22-E22C-F753-9BEF9AF95A51}"/>
                  </a:ext>
                </a:extLst>
              </p:cNvPr>
              <p:cNvSpPr/>
              <p:nvPr/>
            </p:nvSpPr>
            <p:spPr>
              <a:xfrm>
                <a:off x="3320642" y="1977942"/>
                <a:ext cx="1301774" cy="456129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defTabSz="6095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IN" sz="160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anufacturing</a:t>
                </a:r>
              </a:p>
              <a:p>
                <a:pPr defTabSz="6095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IN" sz="160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dustry</a:t>
                </a: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A5100C60-5F84-1CB0-24A4-AAF5334EFD63}"/>
                  </a:ext>
                </a:extLst>
              </p:cNvPr>
              <p:cNvSpPr/>
              <p:nvPr/>
            </p:nvSpPr>
            <p:spPr>
              <a:xfrm>
                <a:off x="4724833" y="2037995"/>
                <a:ext cx="559670" cy="264075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defTabSz="6095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IN" sz="160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2M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F091662-C68D-2F21-8F78-E5D772FA53E1}"/>
                  </a:ext>
                </a:extLst>
              </p:cNvPr>
              <p:cNvSpPr/>
              <p:nvPr/>
            </p:nvSpPr>
            <p:spPr>
              <a:xfrm>
                <a:off x="3358239" y="2948721"/>
                <a:ext cx="1282097" cy="264075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defTabSz="6095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IN" sz="160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ntertainment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8D44640F-007F-B7D1-1963-8ED8B8D2CC5E}"/>
                  </a:ext>
                </a:extLst>
              </p:cNvPr>
              <p:cNvSpPr/>
              <p:nvPr/>
            </p:nvSpPr>
            <p:spPr>
              <a:xfrm>
                <a:off x="4643116" y="2855676"/>
                <a:ext cx="1027701" cy="456129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defTabSz="6095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60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ealth care</a:t>
                </a:r>
                <a:endParaRPr lang="en-IN" sz="16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16A3353D-9E2F-3D8D-4E94-CF584E835C2B}"/>
                  </a:ext>
                </a:extLst>
              </p:cNvPr>
              <p:cNvSpPr/>
              <p:nvPr/>
            </p:nvSpPr>
            <p:spPr>
              <a:xfrm>
                <a:off x="524604" y="698363"/>
                <a:ext cx="3996539" cy="1828888"/>
              </a:xfrm>
              <a:prstGeom prst="rect">
                <a:avLst/>
              </a:prstGeom>
              <a:noFill/>
              <a:ln w="9525">
                <a:solidFill>
                  <a:schemeClr val="accent1"/>
                </a:solidFill>
                <a:prstDash val="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120000" bIns="120000" rtlCol="0" anchor="t" anchorCtr="0"/>
              <a:lstStyle/>
              <a:p>
                <a:pPr algn="ctr" defTabSz="609585">
                  <a:defRPr/>
                </a:pPr>
                <a:endParaRPr lang="en-IN" sz="1467" dirty="0">
                  <a:solidFill>
                    <a:srgbClr val="A8BBC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24964A91-BF32-B8B6-D4F0-FCF62DB174A4}"/>
                  </a:ext>
                </a:extLst>
              </p:cNvPr>
              <p:cNvSpPr/>
              <p:nvPr/>
            </p:nvSpPr>
            <p:spPr>
              <a:xfrm>
                <a:off x="4611437" y="700449"/>
                <a:ext cx="3996538" cy="1828888"/>
              </a:xfrm>
              <a:prstGeom prst="rect">
                <a:avLst/>
              </a:prstGeom>
              <a:noFill/>
              <a:ln w="9525">
                <a:solidFill>
                  <a:schemeClr val="accent5"/>
                </a:solidFill>
                <a:prstDash val="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120000" bIns="120000" rtlCol="0" anchor="t" anchorCtr="0"/>
              <a:lstStyle/>
              <a:p>
                <a:pPr algn="ctr" defTabSz="609585">
                  <a:defRPr/>
                </a:pPr>
                <a:endParaRPr lang="en-IN" sz="1467" dirty="0">
                  <a:solidFill>
                    <a:srgbClr val="A8BBC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BB8C7BB7-9F40-38B6-E4CA-596E118F6D0B}"/>
                  </a:ext>
                </a:extLst>
              </p:cNvPr>
              <p:cNvSpPr/>
              <p:nvPr/>
            </p:nvSpPr>
            <p:spPr>
              <a:xfrm>
                <a:off x="4609531" y="2625907"/>
                <a:ext cx="3996538" cy="1828888"/>
              </a:xfrm>
              <a:prstGeom prst="rect">
                <a:avLst/>
              </a:prstGeom>
              <a:noFill/>
              <a:ln w="9525">
                <a:solidFill>
                  <a:schemeClr val="accent5">
                    <a:lumMod val="50000"/>
                  </a:schemeClr>
                </a:solidFill>
                <a:prstDash val="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120000" bIns="120000" rtlCol="0" anchor="t" anchorCtr="0"/>
              <a:lstStyle/>
              <a:p>
                <a:pPr algn="ctr" defTabSz="609585">
                  <a:defRPr/>
                </a:pPr>
                <a:endParaRPr lang="en-IN" sz="1467" dirty="0">
                  <a:solidFill>
                    <a:srgbClr val="A8BBC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043767D1-C760-8481-EA99-DCBB2A7B0801}"/>
                  </a:ext>
                </a:extLst>
              </p:cNvPr>
              <p:cNvSpPr/>
              <p:nvPr/>
            </p:nvSpPr>
            <p:spPr>
              <a:xfrm>
                <a:off x="524604" y="2623869"/>
                <a:ext cx="3996538" cy="182888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prstDash val="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120000" bIns="120000" rtlCol="0" anchor="t" anchorCtr="0"/>
              <a:lstStyle/>
              <a:p>
                <a:pPr algn="ctr" defTabSz="609585">
                  <a:defRPr/>
                </a:pPr>
                <a:endParaRPr lang="en-IN" sz="1467" dirty="0">
                  <a:solidFill>
                    <a:srgbClr val="A8BBC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1356A26-30AE-62D9-14AE-B7B8A0F418DE}"/>
                </a:ext>
              </a:extLst>
            </p:cNvPr>
            <p:cNvSpPr txBox="1"/>
            <p:nvPr/>
          </p:nvSpPr>
          <p:spPr>
            <a:xfrm>
              <a:off x="592702" y="1721513"/>
              <a:ext cx="2192465" cy="83756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Manufacturing via Robots</a:t>
              </a:r>
            </a:p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Remote control of heavy machineries, robot arms in real time</a:t>
              </a:r>
            </a:p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All of these require ultra low latency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CFE78C0-2BA4-E39C-15A5-2BE96B1B1227}"/>
                </a:ext>
              </a:extLst>
            </p:cNvPr>
            <p:cNvSpPr txBox="1"/>
            <p:nvPr/>
          </p:nvSpPr>
          <p:spPr>
            <a:xfrm>
              <a:off x="4303751" y="1791091"/>
              <a:ext cx="1972961" cy="83756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rgbClr val="D8D9DA">
                      <a:lumMod val="1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nected &amp; autonomous Vehicles</a:t>
              </a:r>
            </a:p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rgbClr val="D8D9DA">
                      <a:lumMod val="1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connected devices at home</a:t>
              </a:r>
            </a:p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rgbClr val="D8D9DA">
                      <a:lumMod val="1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iable information exchange</a:t>
              </a:r>
            </a:p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rgbClr val="D8D9DA">
                      <a:lumMod val="1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driven decision making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AECC421-188A-86FD-0E1B-0CA7A98150C3}"/>
                </a:ext>
              </a:extLst>
            </p:cNvPr>
            <p:cNvSpPr txBox="1"/>
            <p:nvPr/>
          </p:nvSpPr>
          <p:spPr>
            <a:xfrm>
              <a:off x="4378225" y="3267909"/>
              <a:ext cx="1824014" cy="8207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228594" indent="-228594" defTabSz="609585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rgbClr val="D8D9DA">
                      <a:lumMod val="1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lth sensors(IoT)</a:t>
              </a:r>
            </a:p>
            <a:p>
              <a:pPr marL="228594" indent="-228594" defTabSz="609585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rgbClr val="D8D9DA">
                      <a:lumMod val="1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le medicines</a:t>
              </a:r>
            </a:p>
            <a:p>
              <a:pPr marL="228594" indent="-228594" defTabSz="609585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rgbClr val="D8D9DA">
                      <a:lumMod val="1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dical support at remote place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8977B26-AF08-45DE-DD05-5DF0F98D5201}"/>
                </a:ext>
              </a:extLst>
            </p:cNvPr>
            <p:cNvSpPr txBox="1"/>
            <p:nvPr/>
          </p:nvSpPr>
          <p:spPr>
            <a:xfrm>
              <a:off x="678462" y="3172646"/>
              <a:ext cx="1334240" cy="8207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228594" indent="-228594" defTabSz="609585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Smart Stadiums</a:t>
              </a:r>
            </a:p>
            <a:p>
              <a:pPr marL="228594" indent="-228594" defTabSz="609585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360 degree AR &amp; VR</a:t>
              </a:r>
            </a:p>
            <a:p>
              <a:pPr marL="228594" indent="-228594" defTabSz="609585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Immersive experience</a:t>
              </a:r>
            </a:p>
          </p:txBody>
        </p:sp>
      </p:grpSp>
      <p:sp>
        <p:nvSpPr>
          <p:cNvPr id="10" name="Arrow: Right 9">
            <a:extLst>
              <a:ext uri="{FF2B5EF4-FFF2-40B4-BE49-F238E27FC236}">
                <a16:creationId xmlns:a16="http://schemas.microsoft.com/office/drawing/2014/main" id="{DBF5E423-7A85-68E2-D654-ED7FCD359E66}"/>
              </a:ext>
            </a:extLst>
          </p:cNvPr>
          <p:cNvSpPr/>
          <p:nvPr/>
        </p:nvSpPr>
        <p:spPr>
          <a:xfrm>
            <a:off x="370667" y="411632"/>
            <a:ext cx="6086555" cy="410913"/>
          </a:xfrm>
          <a:prstGeom prst="rightArrow">
            <a:avLst>
              <a:gd name="adj1" fmla="val 100000"/>
              <a:gd name="adj2" fmla="val 4697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t" anchorCtr="0"/>
          <a:lstStyle/>
          <a:p>
            <a:pPr algn="ctr" defTabSz="609585">
              <a:defRPr/>
            </a:pPr>
            <a:endParaRPr lang="en-IN" sz="2400" dirty="0">
              <a:solidFill>
                <a:srgbClr val="A8BB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EF476F-95BE-0A23-ABA5-3445F6323BA6}"/>
              </a:ext>
            </a:extLst>
          </p:cNvPr>
          <p:cNvSpPr txBox="1"/>
          <p:nvPr/>
        </p:nvSpPr>
        <p:spPr>
          <a:xfrm>
            <a:off x="954619" y="368784"/>
            <a:ext cx="2044149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6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can 5G do?</a:t>
            </a:r>
            <a:endParaRPr lang="en-IN" sz="1867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42F68146-0FB7-0775-AC0B-43F2998EE10E}"/>
              </a:ext>
            </a:extLst>
          </p:cNvPr>
          <p:cNvSpPr/>
          <p:nvPr/>
        </p:nvSpPr>
        <p:spPr>
          <a:xfrm>
            <a:off x="9800174" y="1330909"/>
            <a:ext cx="1939290" cy="4813278"/>
          </a:xfrm>
          <a:prstGeom prst="roundRect">
            <a:avLst>
              <a:gd name="adj" fmla="val 1775"/>
            </a:avLst>
          </a:prstGeom>
          <a:solidFill>
            <a:srgbClr val="002060"/>
          </a:solidFill>
          <a:ln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se lead to new data</a:t>
            </a:r>
          </a:p>
          <a:p>
            <a:endParaRPr lang="en-IN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data then deeper &amp; rich analy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6777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>
            <a:extLst>
              <a:ext uri="{FF2B5EF4-FFF2-40B4-BE49-F238E27FC236}">
                <a16:creationId xmlns:a16="http://schemas.microsoft.com/office/drawing/2014/main" id="{26158F60-C868-447D-88E3-86430FBED0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0" name="Object 49" hidden="1">
                        <a:extLst>
                          <a:ext uri="{FF2B5EF4-FFF2-40B4-BE49-F238E27FC236}">
                            <a16:creationId xmlns:a16="http://schemas.microsoft.com/office/drawing/2014/main" id="{26158F60-C868-447D-88E3-86430FBED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7FB018B3-A52A-44A7-8724-FB4D74B6901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609585">
              <a:spcBef>
                <a:spcPct val="0"/>
              </a:spcBef>
              <a:spcAft>
                <a:spcPct val="0"/>
              </a:spcAft>
              <a:defRPr/>
            </a:pPr>
            <a:endParaRPr lang="en-US" sz="2933" dirty="0">
              <a:solidFill>
                <a:srgbClr val="A8BBC0"/>
              </a:solidFill>
              <a:latin typeface="Nokia Pure Headline Light" panose="020B0304040602060303" pitchFamily="34" charset="0"/>
              <a:ea typeface="ヒラギノ角ゴ Pro W3"/>
              <a:cs typeface="Arial" panose="020B0604020202020204" pitchFamily="34" charset="0"/>
              <a:sym typeface="Nokia Pure Headline Light" panose="020B03040406020603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297DE2E-878C-4156-99F7-369DBB3C445E}"/>
              </a:ext>
            </a:extLst>
          </p:cNvPr>
          <p:cNvSpPr/>
          <p:nvPr/>
        </p:nvSpPr>
        <p:spPr>
          <a:xfrm>
            <a:off x="607949" y="1587407"/>
            <a:ext cx="2166728" cy="4378677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ctr" anchorCtr="0"/>
          <a:lstStyle/>
          <a:p>
            <a:pPr algn="ctr" defTabSz="609585">
              <a:defRPr/>
            </a:pPr>
            <a:r>
              <a:rPr lang="en-IN" sz="3200" dirty="0">
                <a:solidFill>
                  <a:srgbClr val="FFFFFF"/>
                </a:solidFill>
                <a:latin typeface="Nokia Pure Text Light"/>
              </a:rPr>
              <a:t>Data is the new soil</a:t>
            </a:r>
            <a:endParaRPr lang="en-IN" sz="3200" dirty="0">
              <a:solidFill>
                <a:srgbClr val="A8BBC0"/>
              </a:solidFill>
              <a:latin typeface="Nokia Pure Text Light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1C062D5-3B35-4672-B5A7-44133D455E92}"/>
              </a:ext>
            </a:extLst>
          </p:cNvPr>
          <p:cNvGrpSpPr/>
          <p:nvPr/>
        </p:nvGrpSpPr>
        <p:grpSpPr>
          <a:xfrm>
            <a:off x="2974078" y="3846183"/>
            <a:ext cx="2208001" cy="944159"/>
            <a:chOff x="2468412" y="2851453"/>
            <a:chExt cx="1750877" cy="720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968785A-EB08-4A2F-9BE3-030D80F6E39C}"/>
                </a:ext>
              </a:extLst>
            </p:cNvPr>
            <p:cNvSpPr/>
            <p:nvPr/>
          </p:nvSpPr>
          <p:spPr>
            <a:xfrm>
              <a:off x="2468412" y="2851453"/>
              <a:ext cx="1682986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144000" rIns="0" bIns="0" rtlCol="0" anchor="b" anchorCtr="0"/>
            <a:lstStyle/>
            <a:p>
              <a:pPr marL="380990" indent="-380990" defTabSz="609585">
                <a:buFont typeface="Arial" panose="020B0604020202020204" pitchFamily="34" charset="0"/>
                <a:buChar char="•"/>
                <a:defRPr/>
              </a:pPr>
              <a:endParaRPr lang="en-US" sz="1067" dirty="0">
                <a:solidFill>
                  <a:srgbClr val="FFFFFF"/>
                </a:solidFill>
                <a:latin typeface="Nokia Pure Text Light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0B24A36-6F2C-434F-A758-8BE1C32A9067}"/>
                </a:ext>
              </a:extLst>
            </p:cNvPr>
            <p:cNvSpPr txBox="1"/>
            <p:nvPr/>
          </p:nvSpPr>
          <p:spPr>
            <a:xfrm>
              <a:off x="2485347" y="2931270"/>
              <a:ext cx="737511" cy="2895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7" dirty="0">
                  <a:solidFill>
                    <a:schemeClr val="bg1"/>
                  </a:solidFill>
                  <a:latin typeface="Nokia Pure Text Light"/>
                </a:rPr>
                <a:t>Variety</a:t>
              </a:r>
              <a:endParaRPr lang="en-IN" sz="1867" dirty="0">
                <a:solidFill>
                  <a:schemeClr val="bg1"/>
                </a:solidFill>
                <a:latin typeface="Nokia Pure Text Light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2BD2A20-0F70-4FC5-8DD9-A2063E93265D}"/>
                </a:ext>
              </a:extLst>
            </p:cNvPr>
            <p:cNvSpPr txBox="1"/>
            <p:nvPr/>
          </p:nvSpPr>
          <p:spPr>
            <a:xfrm>
              <a:off x="2494723" y="3205195"/>
              <a:ext cx="1724566" cy="320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67" dirty="0">
                  <a:solidFill>
                    <a:schemeClr val="bg1"/>
                  </a:solidFill>
                  <a:latin typeface="Nokia Pure Text Light"/>
                </a:rPr>
                <a:t>Structured, unstructured and semi structured</a:t>
              </a:r>
              <a:endParaRPr lang="en-IN" sz="1067" dirty="0">
                <a:solidFill>
                  <a:schemeClr val="bg1"/>
                </a:solidFill>
                <a:latin typeface="Nokia Pure Text Light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4D04540-0CA9-4DCE-87A5-DAB8E7C8D17F}"/>
              </a:ext>
            </a:extLst>
          </p:cNvPr>
          <p:cNvGrpSpPr/>
          <p:nvPr/>
        </p:nvGrpSpPr>
        <p:grpSpPr>
          <a:xfrm>
            <a:off x="2906680" y="2693400"/>
            <a:ext cx="2208000" cy="960000"/>
            <a:chOff x="2415771" y="1918917"/>
            <a:chExt cx="1724566" cy="720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3C9A00C-BA04-4EFD-936F-502E346B212F}"/>
                </a:ext>
              </a:extLst>
            </p:cNvPr>
            <p:cNvSpPr/>
            <p:nvPr/>
          </p:nvSpPr>
          <p:spPr>
            <a:xfrm>
              <a:off x="2468413" y="1918917"/>
              <a:ext cx="1644990" cy="720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144000" rIns="0" bIns="0" rtlCol="0" anchor="b" anchorCtr="0"/>
            <a:lstStyle/>
            <a:p>
              <a:pPr marL="380990" indent="-380990" defTabSz="609585">
                <a:buFont typeface="Arial" panose="020B0604020202020204" pitchFamily="34" charset="0"/>
                <a:buChar char="•"/>
                <a:defRPr/>
              </a:pPr>
              <a:endParaRPr lang="en-US" sz="1067" dirty="0">
                <a:solidFill>
                  <a:schemeClr val="bg1"/>
                </a:solidFill>
                <a:latin typeface="Nokia Pure Text Light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5D4FBB8-B7A1-4F2B-8F0A-249A7D0A3F5B}"/>
                </a:ext>
              </a:extLst>
            </p:cNvPr>
            <p:cNvSpPr txBox="1"/>
            <p:nvPr/>
          </p:nvSpPr>
          <p:spPr>
            <a:xfrm>
              <a:off x="2420608" y="1940939"/>
              <a:ext cx="797794" cy="2847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7" dirty="0">
                  <a:solidFill>
                    <a:schemeClr val="bg1"/>
                  </a:solidFill>
                  <a:latin typeface="Nokia Pure Text Light"/>
                </a:rPr>
                <a:t>Velocity</a:t>
              </a:r>
              <a:endParaRPr lang="en-IN" sz="1867" dirty="0">
                <a:solidFill>
                  <a:schemeClr val="bg1"/>
                </a:solidFill>
                <a:latin typeface="Nokia Pure Text Light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DA488B6-F329-434C-A4D1-A1DBB50E81ED}"/>
                </a:ext>
              </a:extLst>
            </p:cNvPr>
            <p:cNvSpPr txBox="1"/>
            <p:nvPr/>
          </p:nvSpPr>
          <p:spPr>
            <a:xfrm>
              <a:off x="2415771" y="2257637"/>
              <a:ext cx="1724566" cy="315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67" dirty="0">
                  <a:solidFill>
                    <a:schemeClr val="bg1"/>
                  </a:solidFill>
                  <a:latin typeface="Nokia Pure Text Light"/>
                </a:rPr>
                <a:t>Speed of data generated &amp; the need to analyze in real time</a:t>
              </a:r>
              <a:endParaRPr lang="en-IN" sz="1067" dirty="0">
                <a:solidFill>
                  <a:schemeClr val="bg1"/>
                </a:solidFill>
                <a:latin typeface="Nokia Pure Text Light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5447D39-9F64-4BF3-B1C1-C22B5ECEFFCE}"/>
              </a:ext>
            </a:extLst>
          </p:cNvPr>
          <p:cNvGrpSpPr/>
          <p:nvPr/>
        </p:nvGrpSpPr>
        <p:grpSpPr>
          <a:xfrm>
            <a:off x="2934435" y="1563178"/>
            <a:ext cx="2208000" cy="960000"/>
            <a:chOff x="2453112" y="960782"/>
            <a:chExt cx="1724566" cy="73864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A6B36BF-71ED-4325-816A-6DCE4CF09259}"/>
                </a:ext>
              </a:extLst>
            </p:cNvPr>
            <p:cNvSpPr/>
            <p:nvPr/>
          </p:nvSpPr>
          <p:spPr>
            <a:xfrm>
              <a:off x="2485347" y="979424"/>
              <a:ext cx="1647708" cy="72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144000" rIns="0" bIns="0" rtlCol="0" anchor="b" anchorCtr="0"/>
            <a:lstStyle/>
            <a:p>
              <a:pPr marL="380990" indent="-380990" defTabSz="609585">
                <a:buFont typeface="Arial" panose="020B0604020202020204" pitchFamily="34" charset="0"/>
                <a:buChar char="•"/>
                <a:defRPr/>
              </a:pPr>
              <a:endParaRPr lang="en-US" sz="1067" dirty="0">
                <a:solidFill>
                  <a:srgbClr val="FFFFFF"/>
                </a:solidFill>
                <a:latin typeface="Nokia Pure Text Light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BD61733-B6AA-43DE-8EAA-CF92E4B9058E}"/>
                </a:ext>
              </a:extLst>
            </p:cNvPr>
            <p:cNvSpPr txBox="1"/>
            <p:nvPr/>
          </p:nvSpPr>
          <p:spPr>
            <a:xfrm>
              <a:off x="2468413" y="960782"/>
              <a:ext cx="768998" cy="2921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7" dirty="0">
                  <a:solidFill>
                    <a:schemeClr val="bg1"/>
                  </a:solidFill>
                  <a:latin typeface="Nokia Pure Text Light"/>
                </a:rPr>
                <a:t>Volume</a:t>
              </a:r>
              <a:endParaRPr lang="en-IN" sz="1867" dirty="0">
                <a:solidFill>
                  <a:schemeClr val="bg1"/>
                </a:solidFill>
                <a:latin typeface="Nokia Pure Text Light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10AE794-DA39-4C6C-90B1-45185D442A47}"/>
                </a:ext>
              </a:extLst>
            </p:cNvPr>
            <p:cNvSpPr txBox="1"/>
            <p:nvPr/>
          </p:nvSpPr>
          <p:spPr>
            <a:xfrm>
              <a:off x="2453112" y="1317876"/>
              <a:ext cx="1724566" cy="3237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>
                <a:defRPr sz="900">
                  <a:solidFill>
                    <a:schemeClr val="bg1"/>
                  </a:solidFill>
                  <a:latin typeface="+mn-lt"/>
                </a:defRPr>
              </a:lvl1pPr>
            </a:lstStyle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67" dirty="0">
                  <a:latin typeface="Nokia Pure Text Light"/>
                </a:rPr>
                <a:t>90% of world’s data generated in last 2 year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3168180-4FD3-4D85-99E9-7E7BE91CB19B}"/>
              </a:ext>
            </a:extLst>
          </p:cNvPr>
          <p:cNvGrpSpPr/>
          <p:nvPr/>
        </p:nvGrpSpPr>
        <p:grpSpPr>
          <a:xfrm>
            <a:off x="2982662" y="4999060"/>
            <a:ext cx="2113801" cy="960000"/>
            <a:chOff x="2468413" y="3854499"/>
            <a:chExt cx="1647708" cy="720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D37F01F-BC71-4A30-869B-179866CE3984}"/>
                </a:ext>
              </a:extLst>
            </p:cNvPr>
            <p:cNvSpPr/>
            <p:nvPr/>
          </p:nvSpPr>
          <p:spPr>
            <a:xfrm>
              <a:off x="2468413" y="3854499"/>
              <a:ext cx="1647708" cy="72000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144000" rIns="0" bIns="0" rtlCol="0" anchor="ctr" anchorCtr="0"/>
            <a:lstStyle/>
            <a:p>
              <a:pPr marL="380990" indent="-380990" defTabSz="609585">
                <a:buFont typeface="Arial" panose="020B0604020202020204" pitchFamily="34" charset="0"/>
                <a:buChar char="•"/>
                <a:defRPr/>
              </a:pPr>
              <a:endParaRPr lang="en-US" sz="1333" dirty="0">
                <a:solidFill>
                  <a:srgbClr val="FFFFFF"/>
                </a:solidFill>
                <a:latin typeface="Nokia Pure Text Light"/>
              </a:endParaRPr>
            </a:p>
            <a:p>
              <a:pPr marL="609585" lvl="1" defTabSz="609585">
                <a:defRPr/>
              </a:pPr>
              <a:endParaRPr lang="en-US" sz="1333" dirty="0">
                <a:solidFill>
                  <a:srgbClr val="FFFFFF"/>
                </a:solidFill>
                <a:latin typeface="Nokia Pure Text Light"/>
              </a:endParaRPr>
            </a:p>
            <a:p>
              <a:pPr marL="380990" indent="-380990" defTabSz="609585">
                <a:buFont typeface="Arial" panose="020B0604020202020204" pitchFamily="34" charset="0"/>
                <a:buChar char="•"/>
                <a:defRPr/>
              </a:pPr>
              <a:endParaRPr lang="en-US" sz="1333" dirty="0">
                <a:solidFill>
                  <a:srgbClr val="FFFFFF"/>
                </a:solidFill>
                <a:latin typeface="Nokia Pure Text Light"/>
              </a:endParaRPr>
            </a:p>
            <a:p>
              <a:pPr marL="380990" indent="-380990" defTabSz="609585">
                <a:buFont typeface="Arial" panose="020B0604020202020204" pitchFamily="34" charset="0"/>
                <a:buChar char="•"/>
                <a:defRPr/>
              </a:pPr>
              <a:endParaRPr lang="en-IN" sz="1333" dirty="0">
                <a:solidFill>
                  <a:srgbClr val="FFFFFF"/>
                </a:solidFill>
                <a:latin typeface="Nokia Pure Text Light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5017627-21E7-4C0C-A1E1-619FC9A75403}"/>
                </a:ext>
              </a:extLst>
            </p:cNvPr>
            <p:cNvSpPr txBox="1"/>
            <p:nvPr/>
          </p:nvSpPr>
          <p:spPr>
            <a:xfrm>
              <a:off x="2474865" y="3958168"/>
              <a:ext cx="812452" cy="2847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7" dirty="0">
                  <a:solidFill>
                    <a:schemeClr val="bg1"/>
                  </a:solidFill>
                  <a:latin typeface="Nokia Pure Text Light"/>
                </a:rPr>
                <a:t>Veracity</a:t>
              </a:r>
              <a:endParaRPr lang="en-IN" sz="1867" dirty="0">
                <a:solidFill>
                  <a:schemeClr val="bg1"/>
                </a:solidFill>
                <a:latin typeface="Nokia Pure Text Light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4F4F02C-2014-4439-9C1A-DC20867EC0F1}"/>
              </a:ext>
            </a:extLst>
          </p:cNvPr>
          <p:cNvGrpSpPr/>
          <p:nvPr/>
        </p:nvGrpSpPr>
        <p:grpSpPr>
          <a:xfrm>
            <a:off x="609480" y="1133000"/>
            <a:ext cx="4478400" cy="442464"/>
            <a:chOff x="464606" y="857245"/>
            <a:chExt cx="3352349" cy="331848"/>
          </a:xfrm>
          <a:solidFill>
            <a:srgbClr val="FFC000"/>
          </a:solidFill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7D7A54A-22D9-4A3A-95C4-309A68007E43}"/>
                </a:ext>
              </a:extLst>
            </p:cNvPr>
            <p:cNvSpPr/>
            <p:nvPr/>
          </p:nvSpPr>
          <p:spPr>
            <a:xfrm>
              <a:off x="464606" y="889084"/>
              <a:ext cx="3352349" cy="300009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120000" bIns="120000" rtlCol="0" anchor="t" anchorCtr="0"/>
            <a:lstStyle/>
            <a:p>
              <a:pPr algn="ctr" defTabSz="609585">
                <a:defRPr/>
              </a:pPr>
              <a:endParaRPr lang="en-IN" sz="2400" dirty="0">
                <a:solidFill>
                  <a:srgbClr val="A8BBC0"/>
                </a:solidFill>
                <a:latin typeface="Nokia Pure Text Light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6AF9F26-0FE3-469E-92B2-FAABE55AA217}"/>
                </a:ext>
              </a:extLst>
            </p:cNvPr>
            <p:cNvSpPr txBox="1"/>
            <p:nvPr/>
          </p:nvSpPr>
          <p:spPr>
            <a:xfrm>
              <a:off x="1739928" y="857245"/>
              <a:ext cx="619411" cy="2847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7" dirty="0">
                  <a:solidFill>
                    <a:srgbClr val="FFFFFF"/>
                  </a:solidFill>
                  <a:latin typeface="Nokia Pure Text Light"/>
                </a:rPr>
                <a:t>Driver</a:t>
              </a:r>
              <a:endParaRPr lang="en-IN" sz="1867" dirty="0">
                <a:solidFill>
                  <a:srgbClr val="FFFFFF"/>
                </a:solidFill>
                <a:latin typeface="Nokia Pure Text Light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90A22E59-8301-419C-9DEA-4BFF582AE9B6}"/>
              </a:ext>
            </a:extLst>
          </p:cNvPr>
          <p:cNvGrpSpPr/>
          <p:nvPr/>
        </p:nvGrpSpPr>
        <p:grpSpPr>
          <a:xfrm>
            <a:off x="5304553" y="973154"/>
            <a:ext cx="5738200" cy="5246557"/>
            <a:chOff x="3746068" y="682052"/>
            <a:chExt cx="4303650" cy="3934918"/>
          </a:xfrm>
        </p:grpSpPr>
        <p:sp>
          <p:nvSpPr>
            <p:cNvPr id="25" name="Arrow: Right 24">
              <a:extLst>
                <a:ext uri="{FF2B5EF4-FFF2-40B4-BE49-F238E27FC236}">
                  <a16:creationId xmlns:a16="http://schemas.microsoft.com/office/drawing/2014/main" id="{104B4A55-B3A0-4268-8CB9-D486D4CE5683}"/>
                </a:ext>
              </a:extLst>
            </p:cNvPr>
            <p:cNvSpPr/>
            <p:nvPr/>
          </p:nvSpPr>
          <p:spPr>
            <a:xfrm>
              <a:off x="3746068" y="2218080"/>
              <a:ext cx="627615" cy="580784"/>
            </a:xfrm>
            <a:prstGeom prst="rightArrow">
              <a:avLst>
                <a:gd name="adj1" fmla="val 50000"/>
                <a:gd name="adj2" fmla="val 28061"/>
              </a:avLst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120000" bIns="120000" rtlCol="0" anchor="t" anchorCtr="0"/>
            <a:lstStyle/>
            <a:p>
              <a:pPr algn="ctr" defTabSz="609585">
                <a:defRPr/>
              </a:pPr>
              <a:endParaRPr lang="en-IN" sz="2400" dirty="0">
                <a:solidFill>
                  <a:srgbClr val="A8BBC0"/>
                </a:solidFill>
                <a:latin typeface="Nokia Pure Text Light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22A3871B-9D61-417B-A77C-CB27A19891B3}"/>
                </a:ext>
              </a:extLst>
            </p:cNvPr>
            <p:cNvGrpSpPr/>
            <p:nvPr/>
          </p:nvGrpSpPr>
          <p:grpSpPr>
            <a:xfrm>
              <a:off x="4519556" y="862275"/>
              <a:ext cx="1277725" cy="323392"/>
              <a:chOff x="4523766" y="708941"/>
              <a:chExt cx="1277725" cy="323392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42843C14-A6D7-4FA5-A527-B0AC1A0A8C7E}"/>
                  </a:ext>
                </a:extLst>
              </p:cNvPr>
              <p:cNvSpPr/>
              <p:nvPr/>
            </p:nvSpPr>
            <p:spPr>
              <a:xfrm>
                <a:off x="4523766" y="732324"/>
                <a:ext cx="1277725" cy="300009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120000" bIns="120000" rtlCol="0" anchor="t" anchorCtr="0"/>
              <a:lstStyle/>
              <a:p>
                <a:pPr algn="ctr" defTabSz="609585">
                  <a:defRPr/>
                </a:pPr>
                <a:endParaRPr lang="en-IN" sz="2400" dirty="0">
                  <a:solidFill>
                    <a:srgbClr val="A8BBC0"/>
                  </a:solidFill>
                  <a:latin typeface="Nokia Pure Text Light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A80B3B90-BEB2-4A49-861C-53C79DEB26C0}"/>
                  </a:ext>
                </a:extLst>
              </p:cNvPr>
              <p:cNvSpPr txBox="1"/>
              <p:nvPr/>
            </p:nvSpPr>
            <p:spPr>
              <a:xfrm>
                <a:off x="4563057" y="708941"/>
                <a:ext cx="1221809" cy="2847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095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7" dirty="0">
                    <a:solidFill>
                      <a:srgbClr val="FFFFFF"/>
                    </a:solidFill>
                    <a:latin typeface="Nokia Pure Text Light"/>
                  </a:rPr>
                  <a:t>Requirement</a:t>
                </a:r>
                <a:endParaRPr lang="en-IN" sz="1867" dirty="0">
                  <a:solidFill>
                    <a:srgbClr val="FFFFFF"/>
                  </a:solidFill>
                  <a:latin typeface="Nokia Pure Text Light"/>
                </a:endParaRP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ABE125BE-AEDE-4AEA-9C47-2CB3E8B90AD9}"/>
                </a:ext>
              </a:extLst>
            </p:cNvPr>
            <p:cNvGrpSpPr/>
            <p:nvPr/>
          </p:nvGrpSpPr>
          <p:grpSpPr>
            <a:xfrm>
              <a:off x="6628519" y="847285"/>
              <a:ext cx="1277725" cy="313973"/>
              <a:chOff x="6765209" y="736121"/>
              <a:chExt cx="1277725" cy="313973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3CCCC8F-F7F0-4F5A-8658-D34A75AB19A3}"/>
                  </a:ext>
                </a:extLst>
              </p:cNvPr>
              <p:cNvSpPr/>
              <p:nvPr/>
            </p:nvSpPr>
            <p:spPr>
              <a:xfrm>
                <a:off x="6765209" y="750085"/>
                <a:ext cx="1277725" cy="300009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120000" bIns="120000" rtlCol="0" anchor="t" anchorCtr="0"/>
              <a:lstStyle/>
              <a:p>
                <a:pPr algn="ctr" defTabSz="609585">
                  <a:defRPr/>
                </a:pPr>
                <a:endParaRPr lang="en-IN" sz="2400" dirty="0">
                  <a:solidFill>
                    <a:srgbClr val="A8BBC0"/>
                  </a:solidFill>
                  <a:latin typeface="Nokia Pure Text Light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BAD1FF63-5EB2-4A4F-8FB5-55EA7FC7D2C0}"/>
                  </a:ext>
                </a:extLst>
              </p:cNvPr>
              <p:cNvSpPr txBox="1"/>
              <p:nvPr/>
            </p:nvSpPr>
            <p:spPr>
              <a:xfrm>
                <a:off x="6817676" y="736121"/>
                <a:ext cx="1221809" cy="2847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095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7" dirty="0">
                    <a:solidFill>
                      <a:srgbClr val="FFFFFF"/>
                    </a:solidFill>
                    <a:latin typeface="Nokia Pure Text Light"/>
                  </a:rPr>
                  <a:t>Insight</a:t>
                </a:r>
                <a:endParaRPr lang="en-IN" sz="1867" dirty="0">
                  <a:solidFill>
                    <a:srgbClr val="FFFFFF"/>
                  </a:solidFill>
                  <a:latin typeface="Nokia Pure Text Light"/>
                </a:endParaRPr>
              </a:p>
            </p:txBody>
          </p: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C6596D4-51A6-4FD9-8E77-F5973258F3DB}"/>
                </a:ext>
              </a:extLst>
            </p:cNvPr>
            <p:cNvSpPr txBox="1"/>
            <p:nvPr/>
          </p:nvSpPr>
          <p:spPr>
            <a:xfrm>
              <a:off x="4515322" y="3092188"/>
              <a:ext cx="1277726" cy="9312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9585">
                <a:defRPr/>
              </a:pPr>
              <a:r>
                <a:rPr lang="en-IN" sz="1867" dirty="0">
                  <a:solidFill>
                    <a:srgbClr val="FFFFFF"/>
                  </a:solidFill>
                  <a:latin typeface="Nokia Pure Text Light"/>
                </a:rPr>
                <a:t>Enhanced</a:t>
              </a:r>
            </a:p>
            <a:p>
              <a:pPr algn="ctr" defTabSz="609585">
                <a:defRPr/>
              </a:pPr>
              <a:r>
                <a:rPr lang="en-IN" sz="1867" dirty="0">
                  <a:solidFill>
                    <a:srgbClr val="FFFFFF"/>
                  </a:solidFill>
                  <a:latin typeface="Nokia Pure Text Light"/>
                </a:rPr>
                <a:t>capabilities on processing &amp; visualization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49FAF20-574D-4CD9-BA7E-C75971B2E7A5}"/>
                </a:ext>
              </a:extLst>
            </p:cNvPr>
            <p:cNvSpPr txBox="1"/>
            <p:nvPr/>
          </p:nvSpPr>
          <p:spPr>
            <a:xfrm rot="10800000" flipH="1" flipV="1">
              <a:off x="6629076" y="1803415"/>
              <a:ext cx="1277168" cy="346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FFFFFF"/>
                  </a:solidFill>
                  <a:latin typeface="Nokia Pure Text Light"/>
                </a:rPr>
                <a:t>Align data initiatives to business goals</a:t>
              </a:r>
              <a:endParaRPr lang="en-IN" sz="1200" dirty="0">
                <a:solidFill>
                  <a:srgbClr val="FFFFFF"/>
                </a:solidFill>
                <a:latin typeface="Nokia Pure Text Light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0588676-F9D2-48C7-B75A-96DB25630589}"/>
                </a:ext>
              </a:extLst>
            </p:cNvPr>
            <p:cNvSpPr txBox="1"/>
            <p:nvPr/>
          </p:nvSpPr>
          <p:spPr>
            <a:xfrm rot="10800000" flipH="1" flipV="1">
              <a:off x="6650552" y="2290264"/>
              <a:ext cx="1346248" cy="346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FFFFFF"/>
                  </a:solidFill>
                  <a:latin typeface="Nokia Pure Text Light"/>
                </a:rPr>
                <a:t>Create scalable data handling infrastructure</a:t>
              </a:r>
              <a:endParaRPr lang="en-IN" sz="1200" dirty="0">
                <a:solidFill>
                  <a:srgbClr val="FFFFFF"/>
                </a:solidFill>
                <a:latin typeface="Nokia Pure Text Light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83309E08-3653-4878-89E1-2A12D4A43DD6}"/>
                </a:ext>
              </a:extLst>
            </p:cNvPr>
            <p:cNvGrpSpPr/>
            <p:nvPr/>
          </p:nvGrpSpPr>
          <p:grpSpPr>
            <a:xfrm>
              <a:off x="5463300" y="1643826"/>
              <a:ext cx="1810052" cy="2285999"/>
              <a:chOff x="5585453" y="-445976"/>
              <a:chExt cx="1810052" cy="2285999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03E57B58-12E0-4DD4-86D9-51102240C0D4}"/>
                  </a:ext>
                </a:extLst>
              </p:cNvPr>
              <p:cNvSpPr/>
              <p:nvPr/>
            </p:nvSpPr>
            <p:spPr>
              <a:xfrm>
                <a:off x="5585453" y="-445976"/>
                <a:ext cx="1810052" cy="228599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120000" bIns="120000" rtlCol="0" anchor="ctr" anchorCtr="0"/>
              <a:lstStyle/>
              <a:p>
                <a:pPr algn="ctr" defTabSz="609585">
                  <a:defRPr/>
                </a:pPr>
                <a:endParaRPr lang="en-IN" sz="2400" dirty="0">
                  <a:solidFill>
                    <a:srgbClr val="A8BBC0"/>
                  </a:solidFill>
                  <a:latin typeface="Nokia Pure Text Light"/>
                </a:endParaRP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B5244850-0513-4400-BD51-AC2C5A2F4D4C}"/>
                  </a:ext>
                </a:extLst>
              </p:cNvPr>
              <p:cNvSpPr txBox="1"/>
              <p:nvPr/>
            </p:nvSpPr>
            <p:spPr>
              <a:xfrm>
                <a:off x="5827659" y="-13646"/>
                <a:ext cx="1215876" cy="11467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095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867" dirty="0">
                    <a:solidFill>
                      <a:srgbClr val="FFFFFF"/>
                    </a:solidFill>
                    <a:latin typeface="Nokia Pure Text Light"/>
                  </a:rPr>
                  <a:t>Lets see the major data sources in Telecom Industry</a:t>
                </a:r>
                <a:endParaRPr lang="en-IN" sz="1867" dirty="0">
                  <a:solidFill>
                    <a:srgbClr val="FFFFFF"/>
                  </a:solidFill>
                  <a:latin typeface="Nokia Pure Text Light"/>
                </a:endParaRPr>
              </a:p>
            </p:txBody>
          </p:sp>
        </p:grp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051A11C0-73CF-4901-8E2C-843F6BFD5DF4}"/>
                </a:ext>
              </a:extLst>
            </p:cNvPr>
            <p:cNvSpPr/>
            <p:nvPr/>
          </p:nvSpPr>
          <p:spPr>
            <a:xfrm>
              <a:off x="4377128" y="682052"/>
              <a:ext cx="3672590" cy="3934918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120000" bIns="120000" rtlCol="0" anchor="t" anchorCtr="0"/>
            <a:lstStyle/>
            <a:p>
              <a:pPr algn="ctr" defTabSz="609585">
                <a:defRPr/>
              </a:pPr>
              <a:endParaRPr lang="en-IN" sz="2400" dirty="0">
                <a:solidFill>
                  <a:srgbClr val="A8BBC0"/>
                </a:solidFill>
                <a:latin typeface="Nokia Pure Text Light"/>
              </a:endParaRPr>
            </a:p>
          </p:txBody>
        </p:sp>
      </p:grp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AA9DCBA7-A49E-4598-A4DD-C2F0111A8514}"/>
              </a:ext>
            </a:extLst>
          </p:cNvPr>
          <p:cNvSpPr/>
          <p:nvPr/>
        </p:nvSpPr>
        <p:spPr>
          <a:xfrm>
            <a:off x="370667" y="411632"/>
            <a:ext cx="6086555" cy="410913"/>
          </a:xfrm>
          <a:prstGeom prst="rightArrow">
            <a:avLst>
              <a:gd name="adj1" fmla="val 100000"/>
              <a:gd name="adj2" fmla="val 4697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t" anchorCtr="0"/>
          <a:lstStyle/>
          <a:p>
            <a:pPr algn="ctr" defTabSz="609585">
              <a:defRPr/>
            </a:pPr>
            <a:endParaRPr lang="en-IN" sz="2400" dirty="0">
              <a:solidFill>
                <a:srgbClr val="A8BBC0"/>
              </a:solidFill>
              <a:latin typeface="Nokia Pure Text Light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BE6D789-3206-4919-91D9-D2A18D89366C}"/>
              </a:ext>
            </a:extLst>
          </p:cNvPr>
          <p:cNvSpPr txBox="1"/>
          <p:nvPr/>
        </p:nvSpPr>
        <p:spPr>
          <a:xfrm>
            <a:off x="954619" y="409424"/>
            <a:ext cx="1426994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67" dirty="0">
                <a:solidFill>
                  <a:srgbClr val="FFFFFF"/>
                </a:solidFill>
                <a:latin typeface="Nokia Pure Text Light"/>
              </a:rPr>
              <a:t>4Vs of Data</a:t>
            </a:r>
            <a:endParaRPr lang="en-IN" sz="1867" dirty="0">
              <a:solidFill>
                <a:srgbClr val="FFFFFF"/>
              </a:solidFill>
              <a:latin typeface="Nokia Pure Text Light"/>
            </a:endParaRPr>
          </a:p>
        </p:txBody>
      </p:sp>
    </p:spTree>
    <p:extLst>
      <p:ext uri="{BB962C8B-B14F-4D97-AF65-F5344CB8AC3E}">
        <p14:creationId xmlns:p14="http://schemas.microsoft.com/office/powerpoint/2010/main" val="770919490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7B5707-5B1B-4D88-8CAA-9BE42F7EB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2284286"/>
            <a:ext cx="3048000" cy="1846659"/>
          </a:xfrm>
        </p:spPr>
        <p:txBody>
          <a:bodyPr>
            <a:normAutofit fontScale="90000"/>
          </a:bodyPr>
          <a:lstStyle/>
          <a:p>
            <a:r>
              <a:rPr lang="en-US" dirty="0"/>
              <a:t>Sources of Data</a:t>
            </a:r>
            <a:br>
              <a:rPr lang="en-US" dirty="0"/>
            </a:br>
            <a:r>
              <a:rPr lang="en-US" sz="2800" dirty="0"/>
              <a:t>(not a exclusive list)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4574F7-3455-46E6-BB69-3FF905C7EE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89060" y="1135806"/>
            <a:ext cx="4561507" cy="5257090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>
                <a:latin typeface="+mj-lt"/>
              </a:rPr>
              <a:t>	Telecom Only Data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Customer related information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dirty="0">
              <a:latin typeface="+mj-lt"/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Network Data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dirty="0">
              <a:latin typeface="+mj-lt"/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Social Media Feedbacks/Comments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dirty="0">
              <a:latin typeface="+mj-lt"/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Marketing and Sales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dirty="0">
              <a:latin typeface="+mj-lt"/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Applicable to Any industry(inclusive of Telecom)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dirty="0">
              <a:latin typeface="+mj-lt"/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Inventory Management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dirty="0">
              <a:latin typeface="+mj-lt"/>
            </a:endParaRP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</a:rPr>
              <a:t>Employees Related</a:t>
            </a:r>
          </a:p>
          <a:p>
            <a:pPr marL="0" indent="0">
              <a:buNone/>
            </a:pPr>
            <a:endParaRPr lang="en-US" dirty="0"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284056-F1BE-497D-B725-BE25F9A2014A}"/>
              </a:ext>
            </a:extLst>
          </p:cNvPr>
          <p:cNvSpPr/>
          <p:nvPr/>
        </p:nvSpPr>
        <p:spPr>
          <a:xfrm>
            <a:off x="5353780" y="989121"/>
            <a:ext cx="4896787" cy="5246557"/>
          </a:xfrm>
          <a:prstGeom prst="rect">
            <a:avLst/>
          </a:prstGeom>
          <a:noFill/>
          <a:ln w="12700">
            <a:solidFill>
              <a:schemeClr val="accent4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t" anchorCtr="0"/>
          <a:lstStyle/>
          <a:p>
            <a:pPr algn="ctr" defTabSz="609585">
              <a:defRPr/>
            </a:pPr>
            <a:endParaRPr lang="en-IN" sz="2400" dirty="0">
              <a:solidFill>
                <a:srgbClr val="A8BBC0"/>
              </a:solidFill>
              <a:latin typeface="Nokia Pure Text Light"/>
            </a:endParaRP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6D8C304B-E0A6-41C6-95EA-5F0461FC4102}"/>
              </a:ext>
            </a:extLst>
          </p:cNvPr>
          <p:cNvSpPr/>
          <p:nvPr/>
        </p:nvSpPr>
        <p:spPr>
          <a:xfrm>
            <a:off x="370667" y="411632"/>
            <a:ext cx="6086555" cy="410913"/>
          </a:xfrm>
          <a:prstGeom prst="rightArrow">
            <a:avLst>
              <a:gd name="adj1" fmla="val 100000"/>
              <a:gd name="adj2" fmla="val 4697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t" anchorCtr="0"/>
          <a:lstStyle/>
          <a:p>
            <a:pPr algn="ctr" defTabSz="609585">
              <a:defRPr/>
            </a:pPr>
            <a:endParaRPr lang="en-IN" sz="2400" dirty="0">
              <a:solidFill>
                <a:srgbClr val="A8BBC0"/>
              </a:solidFill>
              <a:latin typeface="Nokia Pure Text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73D2B64-D281-4723-AC08-EEFFA2C038B9}"/>
              </a:ext>
            </a:extLst>
          </p:cNvPr>
          <p:cNvSpPr txBox="1"/>
          <p:nvPr/>
        </p:nvSpPr>
        <p:spPr>
          <a:xfrm>
            <a:off x="954619" y="368784"/>
            <a:ext cx="1420582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67" dirty="0">
                <a:solidFill>
                  <a:srgbClr val="FFFFFF"/>
                </a:solidFill>
                <a:latin typeface="Nokia Pure Text Light"/>
              </a:rPr>
              <a:t>Data Points</a:t>
            </a:r>
            <a:endParaRPr lang="en-IN" sz="1867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7D1EBA7-41BF-4B98-A581-87F91C8E29FA}"/>
              </a:ext>
            </a:extLst>
          </p:cNvPr>
          <p:cNvSpPr txBox="1">
            <a:spLocks/>
          </p:cNvSpPr>
          <p:nvPr/>
        </p:nvSpPr>
        <p:spPr>
          <a:xfrm>
            <a:off x="891161" y="2284286"/>
            <a:ext cx="3498667" cy="2456485"/>
          </a:xfrm>
          <a:prstGeom prst="rect">
            <a:avLst/>
          </a:prstGeom>
          <a:ln>
            <a:solidFill>
              <a:schemeClr val="accent4"/>
            </a:solidFill>
            <a:prstDash val="sysDot"/>
          </a:ln>
        </p:spPr>
        <p:txBody>
          <a:bodyPr vert="horz" lIns="228600" tIns="228600" rIns="228600" bIns="228600" rtlCol="0" anchor="ctr">
            <a:normAutofit/>
          </a:bodyPr>
          <a:lstStyle>
            <a:lvl1pPr algn="ct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b="0" i="0" kern="1200" cap="none" spc="-15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23343187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5620AC72-046A-4007-8704-3C625AED92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5620AC72-046A-4007-8704-3C625AED92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55952C78-4393-4E51-B02E-7E873A9EB39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609585">
              <a:spcBef>
                <a:spcPct val="0"/>
              </a:spcBef>
              <a:spcAft>
                <a:spcPct val="0"/>
              </a:spcAft>
              <a:defRPr/>
            </a:pPr>
            <a:endParaRPr lang="en-IN" sz="3200" dirty="0">
              <a:solidFill>
                <a:srgbClr val="A8BBC0"/>
              </a:solidFill>
              <a:latin typeface="Nokia Pure Headline Light" panose="020B0304040602060303" pitchFamily="34" charset="0"/>
              <a:sym typeface="Nokia Pure Headline Light" panose="020B03040406020603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DC2FEF0-457F-41DD-98D9-3DE63A6745E4}"/>
              </a:ext>
            </a:extLst>
          </p:cNvPr>
          <p:cNvGrpSpPr/>
          <p:nvPr/>
        </p:nvGrpSpPr>
        <p:grpSpPr>
          <a:xfrm>
            <a:off x="482272" y="1330909"/>
            <a:ext cx="9219265" cy="4815891"/>
            <a:chOff x="572247" y="1392169"/>
            <a:chExt cx="5679059" cy="2998856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6CF4963-D809-4790-85EC-0DB0DB802FD4}"/>
                </a:ext>
              </a:extLst>
            </p:cNvPr>
            <p:cNvGrpSpPr/>
            <p:nvPr/>
          </p:nvGrpSpPr>
          <p:grpSpPr>
            <a:xfrm>
              <a:off x="572247" y="1392169"/>
              <a:ext cx="5679059" cy="2998856"/>
              <a:chOff x="524604" y="698363"/>
              <a:chExt cx="8083371" cy="3756432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7212BA3F-69D5-41F4-B5FC-390C52363EFF}"/>
                  </a:ext>
                </a:extLst>
              </p:cNvPr>
              <p:cNvGrpSpPr/>
              <p:nvPr/>
            </p:nvGrpSpPr>
            <p:grpSpPr>
              <a:xfrm>
                <a:off x="3233917" y="1339229"/>
                <a:ext cx="2676165" cy="2540970"/>
                <a:chOff x="2741655" y="979470"/>
                <a:chExt cx="3581398" cy="3614056"/>
              </a:xfrm>
            </p:grpSpPr>
            <p:sp>
              <p:nvSpPr>
                <p:cNvPr id="14" name="Freeform: Shape 13">
                  <a:extLst>
                    <a:ext uri="{FF2B5EF4-FFF2-40B4-BE49-F238E27FC236}">
                      <a16:creationId xmlns:a16="http://schemas.microsoft.com/office/drawing/2014/main" id="{17E3BD36-66A5-4CF1-BE24-5265DA40CF4A}"/>
                    </a:ext>
                  </a:extLst>
                </p:cNvPr>
                <p:cNvSpPr/>
                <p:nvPr/>
              </p:nvSpPr>
              <p:spPr>
                <a:xfrm>
                  <a:off x="2741655" y="2799858"/>
                  <a:ext cx="1747157" cy="1793668"/>
                </a:xfrm>
                <a:custGeom>
                  <a:avLst/>
                  <a:gdLst>
                    <a:gd name="connsiteX0" fmla="*/ 3132 w 2329543"/>
                    <a:gd name="connsiteY0" fmla="*/ 0 h 2391557"/>
                    <a:gd name="connsiteX1" fmla="*/ 2329543 w 2329543"/>
                    <a:gd name="connsiteY1" fmla="*/ 0 h 2391557"/>
                    <a:gd name="connsiteX2" fmla="*/ 2329543 w 2329543"/>
                    <a:gd name="connsiteY2" fmla="*/ 2391557 h 2391557"/>
                    <a:gd name="connsiteX3" fmla="*/ 0 w 2329543"/>
                    <a:gd name="connsiteY3" fmla="*/ 62014 h 2391557"/>
                    <a:gd name="connsiteX4" fmla="*/ 3132 w 2329543"/>
                    <a:gd name="connsiteY4" fmla="*/ 0 h 2391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29543" h="2391557">
                      <a:moveTo>
                        <a:pt x="3132" y="0"/>
                      </a:moveTo>
                      <a:lnTo>
                        <a:pt x="2329543" y="0"/>
                      </a:lnTo>
                      <a:lnTo>
                        <a:pt x="2329543" y="2391557"/>
                      </a:lnTo>
                      <a:cubicBezTo>
                        <a:pt x="1042972" y="2391557"/>
                        <a:pt x="0" y="1348585"/>
                        <a:pt x="0" y="62014"/>
                      </a:cubicBezTo>
                      <a:lnTo>
                        <a:pt x="313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IN" sz="4800" dirty="0" err="1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13" name="Freeform: Shape 12">
                  <a:extLst>
                    <a:ext uri="{FF2B5EF4-FFF2-40B4-BE49-F238E27FC236}">
                      <a16:creationId xmlns:a16="http://schemas.microsoft.com/office/drawing/2014/main" id="{BB4D47BD-5C09-407A-8303-FCF8C4FADF46}"/>
                    </a:ext>
                  </a:extLst>
                </p:cNvPr>
                <p:cNvSpPr/>
                <p:nvPr/>
              </p:nvSpPr>
              <p:spPr>
                <a:xfrm>
                  <a:off x="4575896" y="2799858"/>
                  <a:ext cx="1747157" cy="1793668"/>
                </a:xfrm>
                <a:custGeom>
                  <a:avLst/>
                  <a:gdLst>
                    <a:gd name="connsiteX0" fmla="*/ 0 w 2329543"/>
                    <a:gd name="connsiteY0" fmla="*/ 0 h 2391557"/>
                    <a:gd name="connsiteX1" fmla="*/ 2326412 w 2329543"/>
                    <a:gd name="connsiteY1" fmla="*/ 0 h 2391557"/>
                    <a:gd name="connsiteX2" fmla="*/ 2329543 w 2329543"/>
                    <a:gd name="connsiteY2" fmla="*/ 62014 h 2391557"/>
                    <a:gd name="connsiteX3" fmla="*/ 0 w 2329543"/>
                    <a:gd name="connsiteY3" fmla="*/ 2391557 h 2391557"/>
                    <a:gd name="connsiteX4" fmla="*/ 0 w 2329543"/>
                    <a:gd name="connsiteY4" fmla="*/ 0 h 2391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29543" h="2391557">
                      <a:moveTo>
                        <a:pt x="0" y="0"/>
                      </a:moveTo>
                      <a:lnTo>
                        <a:pt x="2326412" y="0"/>
                      </a:lnTo>
                      <a:lnTo>
                        <a:pt x="2329543" y="62014"/>
                      </a:lnTo>
                      <a:cubicBezTo>
                        <a:pt x="2329543" y="1348585"/>
                        <a:pt x="1286571" y="2391557"/>
                        <a:pt x="0" y="2391557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IN" sz="1867" dirty="0" err="1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12" name="Freeform: Shape 11">
                  <a:extLst>
                    <a:ext uri="{FF2B5EF4-FFF2-40B4-BE49-F238E27FC236}">
                      <a16:creationId xmlns:a16="http://schemas.microsoft.com/office/drawing/2014/main" id="{84DD17E7-E569-4AEC-9B29-BB24CB1AB527}"/>
                    </a:ext>
                  </a:extLst>
                </p:cNvPr>
                <p:cNvSpPr/>
                <p:nvPr/>
              </p:nvSpPr>
              <p:spPr>
                <a:xfrm>
                  <a:off x="2744004" y="979470"/>
                  <a:ext cx="1744808" cy="1700647"/>
                </a:xfrm>
                <a:custGeom>
                  <a:avLst/>
                  <a:gdLst>
                    <a:gd name="connsiteX0" fmla="*/ 2326411 w 2326411"/>
                    <a:gd name="connsiteY0" fmla="*/ 0 h 2267529"/>
                    <a:gd name="connsiteX1" fmla="*/ 2326411 w 2326411"/>
                    <a:gd name="connsiteY1" fmla="*/ 2267529 h 2267529"/>
                    <a:gd name="connsiteX2" fmla="*/ 0 w 2326411"/>
                    <a:gd name="connsiteY2" fmla="*/ 2267529 h 2267529"/>
                    <a:gd name="connsiteX3" fmla="*/ 8895 w 2326411"/>
                    <a:gd name="connsiteY3" fmla="*/ 2091361 h 2267529"/>
                    <a:gd name="connsiteX4" fmla="*/ 2326411 w 2326411"/>
                    <a:gd name="connsiteY4" fmla="*/ 0 h 2267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26411" h="2267529">
                      <a:moveTo>
                        <a:pt x="2326411" y="0"/>
                      </a:moveTo>
                      <a:lnTo>
                        <a:pt x="2326411" y="2267529"/>
                      </a:lnTo>
                      <a:lnTo>
                        <a:pt x="0" y="2267529"/>
                      </a:lnTo>
                      <a:lnTo>
                        <a:pt x="8895" y="2091361"/>
                      </a:lnTo>
                      <a:cubicBezTo>
                        <a:pt x="128191" y="916675"/>
                        <a:pt x="1120251" y="0"/>
                        <a:pt x="2326411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IN" sz="1867" dirty="0" err="1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11" name="Freeform: Shape 10">
                  <a:extLst>
                    <a:ext uri="{FF2B5EF4-FFF2-40B4-BE49-F238E27FC236}">
                      <a16:creationId xmlns:a16="http://schemas.microsoft.com/office/drawing/2014/main" id="{9BC1993B-2400-421A-BAC5-CF9960221D4D}"/>
                    </a:ext>
                  </a:extLst>
                </p:cNvPr>
                <p:cNvSpPr/>
                <p:nvPr/>
              </p:nvSpPr>
              <p:spPr>
                <a:xfrm>
                  <a:off x="4575896" y="979470"/>
                  <a:ext cx="1744809" cy="1700647"/>
                </a:xfrm>
                <a:custGeom>
                  <a:avLst/>
                  <a:gdLst>
                    <a:gd name="connsiteX0" fmla="*/ 0 w 2326412"/>
                    <a:gd name="connsiteY0" fmla="*/ 0 h 2267529"/>
                    <a:gd name="connsiteX1" fmla="*/ 2317516 w 2326412"/>
                    <a:gd name="connsiteY1" fmla="*/ 2091361 h 2267529"/>
                    <a:gd name="connsiteX2" fmla="*/ 2326412 w 2326412"/>
                    <a:gd name="connsiteY2" fmla="*/ 2267529 h 2267529"/>
                    <a:gd name="connsiteX3" fmla="*/ 0 w 2326412"/>
                    <a:gd name="connsiteY3" fmla="*/ 2267529 h 2267529"/>
                    <a:gd name="connsiteX4" fmla="*/ 0 w 2326412"/>
                    <a:gd name="connsiteY4" fmla="*/ 0 h 2267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26412" h="2267529">
                      <a:moveTo>
                        <a:pt x="0" y="0"/>
                      </a:moveTo>
                      <a:cubicBezTo>
                        <a:pt x="1206161" y="0"/>
                        <a:pt x="2198220" y="916675"/>
                        <a:pt x="2317516" y="2091361"/>
                      </a:cubicBezTo>
                      <a:lnTo>
                        <a:pt x="2326412" y="2267529"/>
                      </a:lnTo>
                      <a:lnTo>
                        <a:pt x="0" y="226752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IN" sz="1867" dirty="0" err="1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</p:grp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89605CDC-6465-40E6-A85F-4FF3E1D90254}"/>
                  </a:ext>
                </a:extLst>
              </p:cNvPr>
              <p:cNvSpPr/>
              <p:nvPr/>
            </p:nvSpPr>
            <p:spPr>
              <a:xfrm>
                <a:off x="3507667" y="1854409"/>
                <a:ext cx="625728" cy="345609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defTabSz="6095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IN" sz="2400" dirty="0">
                    <a:solidFill>
                      <a:srgbClr val="FFFFFF"/>
                    </a:solidFill>
                    <a:latin typeface="+mj-lt"/>
                  </a:rPr>
                  <a:t>Plan</a:t>
                </a: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F88BDCE6-88CF-43FA-8261-8B39713E926F}"/>
                  </a:ext>
                </a:extLst>
              </p:cNvPr>
              <p:cNvSpPr/>
              <p:nvPr/>
            </p:nvSpPr>
            <p:spPr>
              <a:xfrm>
                <a:off x="4671780" y="1847282"/>
                <a:ext cx="1142559" cy="345609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defTabSz="6095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IN" sz="2400" dirty="0">
                    <a:solidFill>
                      <a:srgbClr val="FFFFFF"/>
                    </a:solidFill>
                    <a:latin typeface="+mj-lt"/>
                  </a:rPr>
                  <a:t>Integrate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0A6E051-5F46-4B73-A900-91D79A14D665}"/>
                  </a:ext>
                </a:extLst>
              </p:cNvPr>
              <p:cNvSpPr/>
              <p:nvPr/>
            </p:nvSpPr>
            <p:spPr>
              <a:xfrm>
                <a:off x="3358239" y="2907955"/>
                <a:ext cx="1043837" cy="345609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defTabSz="6095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IN" sz="2400" dirty="0">
                    <a:solidFill>
                      <a:srgbClr val="FFFFFF"/>
                    </a:solidFill>
                    <a:latin typeface="+mj-lt"/>
                  </a:rPr>
                  <a:t>Operate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2F754FAB-B13F-49C8-B079-A0F0DA095FCC}"/>
                  </a:ext>
                </a:extLst>
              </p:cNvPr>
              <p:cNvSpPr/>
              <p:nvPr/>
            </p:nvSpPr>
            <p:spPr>
              <a:xfrm>
                <a:off x="4641347" y="2968734"/>
                <a:ext cx="1027701" cy="345609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defTabSz="6095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400" dirty="0">
                    <a:solidFill>
                      <a:srgbClr val="FFFFFF"/>
                    </a:solidFill>
                    <a:latin typeface="+mj-lt"/>
                  </a:rPr>
                  <a:t>Support</a:t>
                </a:r>
                <a:endParaRPr lang="en-IN" sz="24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F28A43CE-2F64-4738-8AA1-1D554DF5E1F0}"/>
                  </a:ext>
                </a:extLst>
              </p:cNvPr>
              <p:cNvSpPr/>
              <p:nvPr/>
            </p:nvSpPr>
            <p:spPr>
              <a:xfrm>
                <a:off x="524604" y="698363"/>
                <a:ext cx="3996539" cy="1828888"/>
              </a:xfrm>
              <a:prstGeom prst="rect">
                <a:avLst/>
              </a:prstGeom>
              <a:noFill/>
              <a:ln w="9525">
                <a:solidFill>
                  <a:schemeClr val="accent1"/>
                </a:solidFill>
                <a:prstDash val="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120000" bIns="120000" rtlCol="0" anchor="t" anchorCtr="0"/>
              <a:lstStyle/>
              <a:p>
                <a:pPr algn="ctr" defTabSz="609585">
                  <a:defRPr/>
                </a:pPr>
                <a:endParaRPr lang="en-IN" sz="1467" dirty="0">
                  <a:solidFill>
                    <a:srgbClr val="A8BBC0"/>
                  </a:solidFill>
                  <a:latin typeface="+mj-lt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4C31AC68-EE94-444F-9123-750D030B9E14}"/>
                  </a:ext>
                </a:extLst>
              </p:cNvPr>
              <p:cNvSpPr/>
              <p:nvPr/>
            </p:nvSpPr>
            <p:spPr>
              <a:xfrm>
                <a:off x="4611437" y="700449"/>
                <a:ext cx="3996538" cy="1828888"/>
              </a:xfrm>
              <a:prstGeom prst="rect">
                <a:avLst/>
              </a:prstGeom>
              <a:noFill/>
              <a:ln w="9525">
                <a:solidFill>
                  <a:schemeClr val="accent5"/>
                </a:solidFill>
                <a:prstDash val="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120000" bIns="120000" rtlCol="0" anchor="t" anchorCtr="0"/>
              <a:lstStyle/>
              <a:p>
                <a:pPr algn="ctr" defTabSz="609585">
                  <a:defRPr/>
                </a:pPr>
                <a:endParaRPr lang="en-IN" sz="1467" dirty="0">
                  <a:solidFill>
                    <a:srgbClr val="A8BBC0"/>
                  </a:solidFill>
                  <a:latin typeface="+mj-lt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8B4B9E5B-E244-42FB-BCD4-A0018DD95685}"/>
                  </a:ext>
                </a:extLst>
              </p:cNvPr>
              <p:cNvSpPr/>
              <p:nvPr/>
            </p:nvSpPr>
            <p:spPr>
              <a:xfrm>
                <a:off x="4609531" y="2625907"/>
                <a:ext cx="3996538" cy="1828888"/>
              </a:xfrm>
              <a:prstGeom prst="rect">
                <a:avLst/>
              </a:prstGeom>
              <a:noFill/>
              <a:ln w="9525">
                <a:solidFill>
                  <a:schemeClr val="accent5">
                    <a:lumMod val="50000"/>
                  </a:schemeClr>
                </a:solidFill>
                <a:prstDash val="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120000" bIns="120000" rtlCol="0" anchor="t" anchorCtr="0"/>
              <a:lstStyle/>
              <a:p>
                <a:pPr algn="ctr" defTabSz="609585">
                  <a:defRPr/>
                </a:pPr>
                <a:endParaRPr lang="en-IN" sz="1467" dirty="0">
                  <a:solidFill>
                    <a:srgbClr val="A8BBC0"/>
                  </a:solidFill>
                  <a:latin typeface="+mj-lt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5298FA1-4CE5-4C8B-9E65-7906E7FAE32F}"/>
                  </a:ext>
                </a:extLst>
              </p:cNvPr>
              <p:cNvSpPr/>
              <p:nvPr/>
            </p:nvSpPr>
            <p:spPr>
              <a:xfrm>
                <a:off x="524604" y="2623869"/>
                <a:ext cx="3996538" cy="182888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prstDash val="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120000" bIns="120000" rtlCol="0" anchor="t" anchorCtr="0"/>
              <a:lstStyle/>
              <a:p>
                <a:pPr algn="ctr" defTabSz="609585">
                  <a:defRPr/>
                </a:pPr>
                <a:endParaRPr lang="en-IN" sz="1467" dirty="0">
                  <a:solidFill>
                    <a:srgbClr val="A8BBC0"/>
                  </a:solidFill>
                  <a:latin typeface="+mj-lt"/>
                </a:endParaRP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AE66EFC-E161-4CC8-B90E-85E51C6BA903}"/>
                </a:ext>
              </a:extLst>
            </p:cNvPr>
            <p:cNvSpPr txBox="1"/>
            <p:nvPr/>
          </p:nvSpPr>
          <p:spPr>
            <a:xfrm>
              <a:off x="664354" y="1544691"/>
              <a:ext cx="1742926" cy="113597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j-lt"/>
                </a:rPr>
                <a:t>Radio Planning &amp; Design data</a:t>
              </a:r>
            </a:p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j-lt"/>
                </a:rPr>
                <a:t>Mobile Access plan</a:t>
              </a:r>
            </a:p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j-lt"/>
                </a:rPr>
                <a:t>Configuration Parameters</a:t>
              </a:r>
            </a:p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j-lt"/>
                </a:rPr>
                <a:t>Performance Indicators</a:t>
              </a:r>
            </a:p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j-lt"/>
                </a:rPr>
                <a:t>Drive Logs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70A5CCB-FE43-46E7-B909-0577F7FB6889}"/>
                </a:ext>
              </a:extLst>
            </p:cNvPr>
            <p:cNvSpPr txBox="1"/>
            <p:nvPr/>
          </p:nvSpPr>
          <p:spPr>
            <a:xfrm>
              <a:off x="4389234" y="1554205"/>
              <a:ext cx="1484964" cy="113597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srgbClr val="D8D9DA">
                      <a:lumMod val="10000"/>
                    </a:srgbClr>
                  </a:solidFill>
                  <a:latin typeface="+mj-lt"/>
                </a:rPr>
                <a:t>Integration Parameters</a:t>
              </a:r>
            </a:p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srgbClr val="D8D9DA">
                      <a:lumMod val="10000"/>
                    </a:srgbClr>
                  </a:solidFill>
                  <a:latin typeface="+mj-lt"/>
                </a:rPr>
                <a:t>Excel &amp; Macro Files</a:t>
              </a:r>
            </a:p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srgbClr val="D8D9DA">
                      <a:lumMod val="10000"/>
                    </a:srgbClr>
                  </a:solidFill>
                  <a:latin typeface="+mj-lt"/>
                </a:rPr>
                <a:t>License Information</a:t>
              </a:r>
            </a:p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srgbClr val="D8D9DA">
                      <a:lumMod val="10000"/>
                    </a:srgbClr>
                  </a:solidFill>
                  <a:latin typeface="+mj-lt"/>
                </a:rPr>
                <a:t>Feature Implementation</a:t>
              </a:r>
            </a:p>
            <a:p>
              <a:pPr marL="228594" indent="-228594" defTabSz="609585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srgbClr val="D8D9DA">
                      <a:lumMod val="10000"/>
                    </a:srgbClr>
                  </a:solidFill>
                  <a:latin typeface="+mj-lt"/>
                </a:rPr>
                <a:t>Audit Outcomes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4B99C82-F752-4B17-9384-6CDE8D26A96D}"/>
                </a:ext>
              </a:extLst>
            </p:cNvPr>
            <p:cNvSpPr txBox="1"/>
            <p:nvPr/>
          </p:nvSpPr>
          <p:spPr>
            <a:xfrm>
              <a:off x="4378225" y="3082726"/>
              <a:ext cx="1133947" cy="119115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228594" indent="-228594" defTabSz="609585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srgbClr val="D8D9DA">
                      <a:lumMod val="10000"/>
                    </a:srgbClr>
                  </a:solidFill>
                  <a:latin typeface="+mj-lt"/>
                </a:rPr>
                <a:t>System messages</a:t>
              </a:r>
            </a:p>
            <a:p>
              <a:pPr marL="228594" indent="-228594" defTabSz="609585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srgbClr val="D8D9DA">
                      <a:lumMod val="10000"/>
                    </a:srgbClr>
                  </a:solidFill>
                  <a:latin typeface="+mj-lt"/>
                </a:rPr>
                <a:t>Trace logs</a:t>
              </a:r>
            </a:p>
            <a:p>
              <a:pPr marL="228594" indent="-228594" defTabSz="609585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srgbClr val="D8D9DA">
                      <a:lumMod val="10000"/>
                    </a:srgbClr>
                  </a:solidFill>
                  <a:latin typeface="+mj-lt"/>
                </a:rPr>
                <a:t>Case History</a:t>
              </a:r>
            </a:p>
            <a:p>
              <a:pPr marL="228594" indent="-228594" defTabSz="609585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srgbClr val="D8D9DA">
                      <a:lumMod val="10000"/>
                    </a:srgbClr>
                  </a:solidFill>
                  <a:latin typeface="+mj-lt"/>
                </a:rPr>
                <a:t>Crash Report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1A9C0C8-2CED-45D4-88B1-C752689E760C}"/>
                </a:ext>
              </a:extLst>
            </p:cNvPr>
            <p:cNvSpPr txBox="1"/>
            <p:nvPr/>
          </p:nvSpPr>
          <p:spPr>
            <a:xfrm>
              <a:off x="678462" y="3134614"/>
              <a:ext cx="1567831" cy="89685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228594" indent="-228594" defTabSz="609585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j-lt"/>
                </a:rPr>
                <a:t>Alarm and system Log</a:t>
              </a:r>
            </a:p>
            <a:p>
              <a:pPr marL="228594" indent="-228594" defTabSz="609585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j-lt"/>
                </a:rPr>
                <a:t>Fault History</a:t>
              </a:r>
            </a:p>
            <a:p>
              <a:pPr marL="228594" indent="-228594" defTabSz="609585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latin typeface="+mj-lt"/>
                </a:rPr>
                <a:t>Event and Trouble reports</a:t>
              </a:r>
            </a:p>
          </p:txBody>
        </p:sp>
      </p:grpSp>
      <p:sp>
        <p:nvSpPr>
          <p:cNvPr id="10" name="Arrow: Right 9">
            <a:extLst>
              <a:ext uri="{FF2B5EF4-FFF2-40B4-BE49-F238E27FC236}">
                <a16:creationId xmlns:a16="http://schemas.microsoft.com/office/drawing/2014/main" id="{836B5BD8-67F1-4BD6-8548-B4E41D3F5D74}"/>
              </a:ext>
            </a:extLst>
          </p:cNvPr>
          <p:cNvSpPr/>
          <p:nvPr/>
        </p:nvSpPr>
        <p:spPr>
          <a:xfrm>
            <a:off x="370667" y="411632"/>
            <a:ext cx="6086555" cy="410913"/>
          </a:xfrm>
          <a:prstGeom prst="rightArrow">
            <a:avLst>
              <a:gd name="adj1" fmla="val 100000"/>
              <a:gd name="adj2" fmla="val 4697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t" anchorCtr="0"/>
          <a:lstStyle/>
          <a:p>
            <a:pPr algn="ctr" defTabSz="609585">
              <a:defRPr/>
            </a:pPr>
            <a:endParaRPr lang="en-IN" sz="2400" dirty="0">
              <a:solidFill>
                <a:srgbClr val="A8BBC0"/>
              </a:solidFill>
              <a:latin typeface="Nokia Pure Text Ligh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144C962-6F55-493A-8905-4BE3814A4A0C}"/>
              </a:ext>
            </a:extLst>
          </p:cNvPr>
          <p:cNvSpPr txBox="1"/>
          <p:nvPr/>
        </p:nvSpPr>
        <p:spPr>
          <a:xfrm>
            <a:off x="954619" y="368784"/>
            <a:ext cx="3504486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67" dirty="0">
                <a:solidFill>
                  <a:srgbClr val="FFFFFF"/>
                </a:solidFill>
                <a:latin typeface="Nokia Pure Text Light"/>
              </a:rPr>
              <a:t>Network Data at various stages</a:t>
            </a:r>
            <a:endParaRPr lang="en-IN" sz="1867" dirty="0">
              <a:solidFill>
                <a:srgbClr val="FFFFFF"/>
              </a:solidFill>
              <a:latin typeface="Nokia Pure Text Light"/>
            </a:endParaRPr>
          </a:p>
        </p:txBody>
      </p:sp>
    </p:spTree>
    <p:extLst>
      <p:ext uri="{BB962C8B-B14F-4D97-AF65-F5344CB8AC3E}">
        <p14:creationId xmlns:p14="http://schemas.microsoft.com/office/powerpoint/2010/main" val="18524090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E2303B7-C17B-433F-AD89-7F4BD2095E33}"/>
              </a:ext>
            </a:extLst>
          </p:cNvPr>
          <p:cNvSpPr/>
          <p:nvPr/>
        </p:nvSpPr>
        <p:spPr>
          <a:xfrm>
            <a:off x="1219200" y="1972311"/>
            <a:ext cx="2362200" cy="7218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051E259-7324-4731-A432-A3B79A745E6E}"/>
              </a:ext>
            </a:extLst>
          </p:cNvPr>
          <p:cNvSpPr/>
          <p:nvPr/>
        </p:nvSpPr>
        <p:spPr>
          <a:xfrm>
            <a:off x="1219200" y="3082021"/>
            <a:ext cx="2362200" cy="7218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803A3CD-BFD5-4A0D-942F-FFE829C362A3}"/>
              </a:ext>
            </a:extLst>
          </p:cNvPr>
          <p:cNvSpPr/>
          <p:nvPr/>
        </p:nvSpPr>
        <p:spPr>
          <a:xfrm>
            <a:off x="1219200" y="4279667"/>
            <a:ext cx="2362200" cy="7218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0" name="Object 49" hidden="1">
            <a:extLst>
              <a:ext uri="{FF2B5EF4-FFF2-40B4-BE49-F238E27FC236}">
                <a16:creationId xmlns:a16="http://schemas.microsoft.com/office/drawing/2014/main" id="{26158F60-C868-447D-88E3-86430FBED0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0" name="Object 49" hidden="1">
                        <a:extLst>
                          <a:ext uri="{FF2B5EF4-FFF2-40B4-BE49-F238E27FC236}">
                            <a16:creationId xmlns:a16="http://schemas.microsoft.com/office/drawing/2014/main" id="{26158F60-C868-447D-88E3-86430FBED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7FB018B3-A52A-44A7-8724-FB4D74B6901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609585">
              <a:spcBef>
                <a:spcPct val="0"/>
              </a:spcBef>
              <a:spcAft>
                <a:spcPct val="0"/>
              </a:spcAft>
              <a:defRPr/>
            </a:pPr>
            <a:endParaRPr lang="en-US" sz="2933" dirty="0">
              <a:solidFill>
                <a:srgbClr val="A8BBC0"/>
              </a:solidFill>
              <a:latin typeface="Nokia Pure Headline Light" panose="020B0304040602060303" pitchFamily="34" charset="0"/>
              <a:ea typeface="ヒラギノ角ゴ Pro W3"/>
              <a:cs typeface="Arial" panose="020B0604020202020204" pitchFamily="34" charset="0"/>
              <a:sym typeface="Nokia Pure Headline Light" panose="020B0304040602060303" pitchFamily="34" charset="0"/>
            </a:endParaRPr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8D3E967E-F30A-40F0-9846-F9E5BEBEA396}"/>
              </a:ext>
            </a:extLst>
          </p:cNvPr>
          <p:cNvSpPr/>
          <p:nvPr/>
        </p:nvSpPr>
        <p:spPr>
          <a:xfrm>
            <a:off x="370667" y="411632"/>
            <a:ext cx="6086555" cy="410913"/>
          </a:xfrm>
          <a:prstGeom prst="rightArrow">
            <a:avLst>
              <a:gd name="adj1" fmla="val 100000"/>
              <a:gd name="adj2" fmla="val 4697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ctr" anchorCtr="0"/>
          <a:lstStyle/>
          <a:p>
            <a:pPr algn="ctr" defTabSz="609585">
              <a:defRPr/>
            </a:pPr>
            <a:r>
              <a:rPr lang="en-IN" sz="2400" dirty="0">
                <a:solidFill>
                  <a:srgbClr val="A8BB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com Analytics way forwar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52F12A6-6C70-47C3-9FF7-9DA246EC16DD}"/>
              </a:ext>
            </a:extLst>
          </p:cNvPr>
          <p:cNvSpPr txBox="1"/>
          <p:nvPr/>
        </p:nvSpPr>
        <p:spPr>
          <a:xfrm>
            <a:off x="1219200" y="1972311"/>
            <a:ext cx="22586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 on Analytics capability build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811CD5D-D7B2-4C79-9CE5-406220680744}"/>
              </a:ext>
            </a:extLst>
          </p:cNvPr>
          <p:cNvSpPr txBox="1"/>
          <p:nvPr/>
        </p:nvSpPr>
        <p:spPr>
          <a:xfrm>
            <a:off x="1219200" y="3242340"/>
            <a:ext cx="259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ust Data Handling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BDC3123-F8CD-4431-A81E-E32A0B0EF900}"/>
              </a:ext>
            </a:extLst>
          </p:cNvPr>
          <p:cNvSpPr txBox="1"/>
          <p:nvPr/>
        </p:nvSpPr>
        <p:spPr>
          <a:xfrm>
            <a:off x="1219200" y="4435983"/>
            <a:ext cx="2971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gen Model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841BE39-5095-406C-A284-E7F4B96AF895}"/>
              </a:ext>
            </a:extLst>
          </p:cNvPr>
          <p:cNvSpPr/>
          <p:nvPr/>
        </p:nvSpPr>
        <p:spPr>
          <a:xfrm>
            <a:off x="5029200" y="1972311"/>
            <a:ext cx="2362200" cy="7218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rt business problems to analytical one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8F8784C-D5D5-42E1-8F16-CAB7DE8AB4FB}"/>
              </a:ext>
            </a:extLst>
          </p:cNvPr>
          <p:cNvSpPr/>
          <p:nvPr/>
        </p:nvSpPr>
        <p:spPr>
          <a:xfrm>
            <a:off x="5029200" y="3122077"/>
            <a:ext cx="2362200" cy="7218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ed &amp; large data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7A196CF-2114-44D8-BF90-943214958056}"/>
              </a:ext>
            </a:extLst>
          </p:cNvPr>
          <p:cNvSpPr/>
          <p:nvPr/>
        </p:nvSpPr>
        <p:spPr>
          <a:xfrm>
            <a:off x="5029200" y="4279667"/>
            <a:ext cx="2362200" cy="7218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powerful and real time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AB8C53-CB11-4174-B4C3-0B6DF129630E}"/>
              </a:ext>
            </a:extLst>
          </p:cNvPr>
          <p:cNvSpPr/>
          <p:nvPr/>
        </p:nvSpPr>
        <p:spPr>
          <a:xfrm>
            <a:off x="8823160" y="1972311"/>
            <a:ext cx="2362200" cy="302921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Integrated data from various sources suitable for in depth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Faster time to market with better decision mak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N" sz="1400" dirty="0">
                <a:latin typeface="Arial" panose="020B0604020202020204" pitchFamily="34" charset="0"/>
                <a:cs typeface="Arial" panose="020B0604020202020204" pitchFamily="34" charset="0"/>
              </a:rPr>
              <a:t>Monetize further while improving customer experien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EEF674-5F0E-41F8-AED8-325A85EF1EB7}"/>
              </a:ext>
            </a:extLst>
          </p:cNvPr>
          <p:cNvSpPr txBox="1"/>
          <p:nvPr/>
        </p:nvSpPr>
        <p:spPr>
          <a:xfrm>
            <a:off x="5715000" y="1535668"/>
            <a:ext cx="99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Why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14BF191-361F-4FCF-B4B9-A7FA8CBA9641}"/>
              </a:ext>
            </a:extLst>
          </p:cNvPr>
          <p:cNvSpPr txBox="1"/>
          <p:nvPr/>
        </p:nvSpPr>
        <p:spPr>
          <a:xfrm>
            <a:off x="1905000" y="1508871"/>
            <a:ext cx="99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What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514F892-16B6-4379-BDB8-802BA0ADB763}"/>
              </a:ext>
            </a:extLst>
          </p:cNvPr>
          <p:cNvSpPr txBox="1"/>
          <p:nvPr/>
        </p:nvSpPr>
        <p:spPr>
          <a:xfrm>
            <a:off x="9476231" y="1541082"/>
            <a:ext cx="99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Lead to</a:t>
            </a:r>
          </a:p>
        </p:txBody>
      </p:sp>
      <p:sp>
        <p:nvSpPr>
          <p:cNvPr id="24" name="Right Brace 23">
            <a:extLst>
              <a:ext uri="{FF2B5EF4-FFF2-40B4-BE49-F238E27FC236}">
                <a16:creationId xmlns:a16="http://schemas.microsoft.com/office/drawing/2014/main" id="{A53CDADA-336F-403F-A890-21819DB90AC3}"/>
              </a:ext>
            </a:extLst>
          </p:cNvPr>
          <p:cNvSpPr/>
          <p:nvPr/>
        </p:nvSpPr>
        <p:spPr>
          <a:xfrm>
            <a:off x="4114800" y="1972311"/>
            <a:ext cx="304800" cy="3029219"/>
          </a:xfrm>
          <a:prstGeom prst="rightBrac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ight Brace 65">
            <a:extLst>
              <a:ext uri="{FF2B5EF4-FFF2-40B4-BE49-F238E27FC236}">
                <a16:creationId xmlns:a16="http://schemas.microsoft.com/office/drawing/2014/main" id="{048D2CB1-ADE4-49BC-957B-0EC3E8E6F34F}"/>
              </a:ext>
            </a:extLst>
          </p:cNvPr>
          <p:cNvSpPr/>
          <p:nvPr/>
        </p:nvSpPr>
        <p:spPr>
          <a:xfrm>
            <a:off x="8007234" y="1972311"/>
            <a:ext cx="304800" cy="3029219"/>
          </a:xfrm>
          <a:prstGeom prst="rightBrac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428382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5620AC72-046A-4007-8704-3C625AED92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5620AC72-046A-4007-8704-3C625AED92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55952C78-4393-4E51-B02E-7E873A9EB39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3200" b="0" i="0" u="none" strike="noStrike" kern="1200" cap="none" spc="0" normalizeH="0" baseline="0" noProof="0" dirty="0">
              <a:ln>
                <a:noFill/>
              </a:ln>
              <a:solidFill>
                <a:srgbClr val="A8BBC0"/>
              </a:solidFill>
              <a:effectLst/>
              <a:uLnTx/>
              <a:uFillTx/>
              <a:latin typeface="Nokia Pure Headline Light" panose="020B0304040602060303" pitchFamily="34" charset="0"/>
              <a:ea typeface="+mn-ea"/>
              <a:cs typeface="+mn-cs"/>
              <a:sym typeface="Nokia Pure Headline Light" panose="020B0304040602060303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F10E41F-5372-4AD6-9405-05666984D219}"/>
              </a:ext>
            </a:extLst>
          </p:cNvPr>
          <p:cNvSpPr/>
          <p:nvPr/>
        </p:nvSpPr>
        <p:spPr>
          <a:xfrm>
            <a:off x="1082735" y="1478140"/>
            <a:ext cx="4175841" cy="452641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ctr" anchorCtr="0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A8BBC0"/>
              </a:solidFill>
              <a:effectLst/>
              <a:highlight>
                <a:srgbClr val="FFFF00"/>
              </a:highlight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11F2CB9-20F7-46AA-80AB-A05B92CC7E5F}"/>
              </a:ext>
            </a:extLst>
          </p:cNvPr>
          <p:cNvSpPr txBox="1"/>
          <p:nvPr/>
        </p:nvSpPr>
        <p:spPr>
          <a:xfrm rot="10800000" flipH="1" flipV="1">
            <a:off x="1037225" y="2025954"/>
            <a:ext cx="44215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marR="0" lvl="0" indent="-228594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reate Data Lake from Network Data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1EB9D26-8EA8-42A4-AF0C-EC1FBBFDA5D0}"/>
              </a:ext>
            </a:extLst>
          </p:cNvPr>
          <p:cNvSpPr txBox="1"/>
          <p:nvPr/>
        </p:nvSpPr>
        <p:spPr>
          <a:xfrm rot="10800000" flipH="1" flipV="1">
            <a:off x="1037225" y="2899678"/>
            <a:ext cx="41758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marR="0" lvl="0" indent="-228594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dentify opportunities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1FFDF07-732A-4990-BA02-71D0853F6ED8}"/>
              </a:ext>
            </a:extLst>
          </p:cNvPr>
          <p:cNvSpPr txBox="1"/>
          <p:nvPr/>
        </p:nvSpPr>
        <p:spPr>
          <a:xfrm rot="10800000" flipH="1" flipV="1">
            <a:off x="1071356" y="3698636"/>
            <a:ext cx="36114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marR="0" lvl="0" indent="-228594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velop test models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4AD51D7-258C-4F0E-A77F-6CDA5C033B49}"/>
              </a:ext>
            </a:extLst>
          </p:cNvPr>
          <p:cNvGrpSpPr/>
          <p:nvPr/>
        </p:nvGrpSpPr>
        <p:grpSpPr>
          <a:xfrm>
            <a:off x="10004074" y="808794"/>
            <a:ext cx="1820844" cy="1269225"/>
            <a:chOff x="775098" y="869831"/>
            <a:chExt cx="2973714" cy="2429629"/>
          </a:xfrm>
        </p:grpSpPr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44EF34FE-608A-454A-8A0E-76D6BF0F2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601" y="1391404"/>
              <a:ext cx="1788466" cy="1088739"/>
            </a:xfrm>
            <a:custGeom>
              <a:avLst/>
              <a:gdLst>
                <a:gd name="T0" fmla="*/ 2749 w 4324"/>
                <a:gd name="T1" fmla="*/ 11 h 2948"/>
                <a:gd name="T2" fmla="*/ 2981 w 4324"/>
                <a:gd name="T3" fmla="*/ 69 h 2948"/>
                <a:gd name="T4" fmla="*/ 3176 w 4324"/>
                <a:gd name="T5" fmla="*/ 170 h 2948"/>
                <a:gd name="T6" fmla="*/ 3339 w 4324"/>
                <a:gd name="T7" fmla="*/ 307 h 2948"/>
                <a:gd name="T8" fmla="*/ 3466 w 4324"/>
                <a:gd name="T9" fmla="*/ 474 h 2948"/>
                <a:gd name="T10" fmla="*/ 3559 w 4324"/>
                <a:gd name="T11" fmla="*/ 667 h 2948"/>
                <a:gd name="T12" fmla="*/ 3619 w 4324"/>
                <a:gd name="T13" fmla="*/ 875 h 2948"/>
                <a:gd name="T14" fmla="*/ 3647 w 4324"/>
                <a:gd name="T15" fmla="*/ 1095 h 2948"/>
                <a:gd name="T16" fmla="*/ 3721 w 4324"/>
                <a:gd name="T17" fmla="*/ 1265 h 2948"/>
                <a:gd name="T18" fmla="*/ 3931 w 4324"/>
                <a:gd name="T19" fmla="*/ 1363 h 2948"/>
                <a:gd name="T20" fmla="*/ 4105 w 4324"/>
                <a:gd name="T21" fmla="*/ 1512 h 2948"/>
                <a:gd name="T22" fmla="*/ 4234 w 4324"/>
                <a:gd name="T23" fmla="*/ 1703 h 2948"/>
                <a:gd name="T24" fmla="*/ 4308 w 4324"/>
                <a:gd name="T25" fmla="*/ 1925 h 2948"/>
                <a:gd name="T26" fmla="*/ 4320 w 4324"/>
                <a:gd name="T27" fmla="*/ 2171 h 2948"/>
                <a:gd name="T28" fmla="*/ 4265 w 4324"/>
                <a:gd name="T29" fmla="*/ 2405 h 2948"/>
                <a:gd name="T30" fmla="*/ 4151 w 4324"/>
                <a:gd name="T31" fmla="*/ 2608 h 2948"/>
                <a:gd name="T32" fmla="*/ 3989 w 4324"/>
                <a:gd name="T33" fmla="*/ 2773 h 2948"/>
                <a:gd name="T34" fmla="*/ 3788 w 4324"/>
                <a:gd name="T35" fmla="*/ 2888 h 2948"/>
                <a:gd name="T36" fmla="*/ 3557 w 4324"/>
                <a:gd name="T37" fmla="*/ 2944 h 2948"/>
                <a:gd name="T38" fmla="*/ 767 w 4324"/>
                <a:gd name="T39" fmla="*/ 2944 h 2948"/>
                <a:gd name="T40" fmla="*/ 536 w 4324"/>
                <a:gd name="T41" fmla="*/ 2888 h 2948"/>
                <a:gd name="T42" fmla="*/ 335 w 4324"/>
                <a:gd name="T43" fmla="*/ 2773 h 2948"/>
                <a:gd name="T44" fmla="*/ 173 w 4324"/>
                <a:gd name="T45" fmla="*/ 2608 h 2948"/>
                <a:gd name="T46" fmla="*/ 59 w 4324"/>
                <a:gd name="T47" fmla="*/ 2405 h 2948"/>
                <a:gd name="T48" fmla="*/ 4 w 4324"/>
                <a:gd name="T49" fmla="*/ 2171 h 2948"/>
                <a:gd name="T50" fmla="*/ 16 w 4324"/>
                <a:gd name="T51" fmla="*/ 1920 h 2948"/>
                <a:gd name="T52" fmla="*/ 96 w 4324"/>
                <a:gd name="T53" fmla="*/ 1691 h 2948"/>
                <a:gd name="T54" fmla="*/ 232 w 4324"/>
                <a:gd name="T55" fmla="*/ 1497 h 2948"/>
                <a:gd name="T56" fmla="*/ 415 w 4324"/>
                <a:gd name="T57" fmla="*/ 1348 h 2948"/>
                <a:gd name="T58" fmla="*/ 635 w 4324"/>
                <a:gd name="T59" fmla="*/ 1254 h 2948"/>
                <a:gd name="T60" fmla="*/ 708 w 4324"/>
                <a:gd name="T61" fmla="*/ 1145 h 2948"/>
                <a:gd name="T62" fmla="*/ 739 w 4324"/>
                <a:gd name="T63" fmla="*/ 962 h 2948"/>
                <a:gd name="T64" fmla="*/ 825 w 4324"/>
                <a:gd name="T65" fmla="*/ 805 h 2948"/>
                <a:gd name="T66" fmla="*/ 957 w 4324"/>
                <a:gd name="T67" fmla="*/ 685 h 2948"/>
                <a:gd name="T68" fmla="*/ 1122 w 4324"/>
                <a:gd name="T69" fmla="*/ 615 h 2948"/>
                <a:gd name="T70" fmla="*/ 1310 w 4324"/>
                <a:gd name="T71" fmla="*/ 605 h 2948"/>
                <a:gd name="T72" fmla="*/ 1491 w 4324"/>
                <a:gd name="T73" fmla="*/ 660 h 2948"/>
                <a:gd name="T74" fmla="*/ 1617 w 4324"/>
                <a:gd name="T75" fmla="*/ 676 h 2948"/>
                <a:gd name="T76" fmla="*/ 1696 w 4324"/>
                <a:gd name="T77" fmla="*/ 518 h 2948"/>
                <a:gd name="T78" fmla="*/ 1789 w 4324"/>
                <a:gd name="T79" fmla="*/ 371 h 2948"/>
                <a:gd name="T80" fmla="*/ 1900 w 4324"/>
                <a:gd name="T81" fmla="*/ 241 h 2948"/>
                <a:gd name="T82" fmla="*/ 2038 w 4324"/>
                <a:gd name="T83" fmla="*/ 134 h 2948"/>
                <a:gd name="T84" fmla="*/ 2207 w 4324"/>
                <a:gd name="T85" fmla="*/ 55 h 2948"/>
                <a:gd name="T86" fmla="*/ 2414 w 4324"/>
                <a:gd name="T87" fmla="*/ 9 h 2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324" h="2948">
                  <a:moveTo>
                    <a:pt x="2575" y="0"/>
                  </a:moveTo>
                  <a:lnTo>
                    <a:pt x="2664" y="4"/>
                  </a:lnTo>
                  <a:lnTo>
                    <a:pt x="2749" y="11"/>
                  </a:lnTo>
                  <a:lnTo>
                    <a:pt x="2830" y="26"/>
                  </a:lnTo>
                  <a:lnTo>
                    <a:pt x="2908" y="44"/>
                  </a:lnTo>
                  <a:lnTo>
                    <a:pt x="2981" y="69"/>
                  </a:lnTo>
                  <a:lnTo>
                    <a:pt x="3049" y="98"/>
                  </a:lnTo>
                  <a:lnTo>
                    <a:pt x="3115" y="131"/>
                  </a:lnTo>
                  <a:lnTo>
                    <a:pt x="3176" y="170"/>
                  </a:lnTo>
                  <a:lnTo>
                    <a:pt x="3234" y="212"/>
                  </a:lnTo>
                  <a:lnTo>
                    <a:pt x="3289" y="258"/>
                  </a:lnTo>
                  <a:lnTo>
                    <a:pt x="3339" y="307"/>
                  </a:lnTo>
                  <a:lnTo>
                    <a:pt x="3385" y="359"/>
                  </a:lnTo>
                  <a:lnTo>
                    <a:pt x="3426" y="416"/>
                  </a:lnTo>
                  <a:lnTo>
                    <a:pt x="3466" y="474"/>
                  </a:lnTo>
                  <a:lnTo>
                    <a:pt x="3501" y="536"/>
                  </a:lnTo>
                  <a:lnTo>
                    <a:pt x="3531" y="599"/>
                  </a:lnTo>
                  <a:lnTo>
                    <a:pt x="3559" y="667"/>
                  </a:lnTo>
                  <a:lnTo>
                    <a:pt x="3582" y="734"/>
                  </a:lnTo>
                  <a:lnTo>
                    <a:pt x="3603" y="804"/>
                  </a:lnTo>
                  <a:lnTo>
                    <a:pt x="3619" y="875"/>
                  </a:lnTo>
                  <a:lnTo>
                    <a:pt x="3632" y="947"/>
                  </a:lnTo>
                  <a:lnTo>
                    <a:pt x="3641" y="1021"/>
                  </a:lnTo>
                  <a:lnTo>
                    <a:pt x="3647" y="1095"/>
                  </a:lnTo>
                  <a:lnTo>
                    <a:pt x="3648" y="1170"/>
                  </a:lnTo>
                  <a:lnTo>
                    <a:pt x="3645" y="1245"/>
                  </a:lnTo>
                  <a:lnTo>
                    <a:pt x="3721" y="1265"/>
                  </a:lnTo>
                  <a:lnTo>
                    <a:pt x="3795" y="1290"/>
                  </a:lnTo>
                  <a:lnTo>
                    <a:pt x="3865" y="1323"/>
                  </a:lnTo>
                  <a:lnTo>
                    <a:pt x="3931" y="1363"/>
                  </a:lnTo>
                  <a:lnTo>
                    <a:pt x="3994" y="1406"/>
                  </a:lnTo>
                  <a:lnTo>
                    <a:pt x="4051" y="1456"/>
                  </a:lnTo>
                  <a:lnTo>
                    <a:pt x="4105" y="1512"/>
                  </a:lnTo>
                  <a:lnTo>
                    <a:pt x="4154" y="1571"/>
                  </a:lnTo>
                  <a:lnTo>
                    <a:pt x="4197" y="1634"/>
                  </a:lnTo>
                  <a:lnTo>
                    <a:pt x="4234" y="1703"/>
                  </a:lnTo>
                  <a:lnTo>
                    <a:pt x="4265" y="1774"/>
                  </a:lnTo>
                  <a:lnTo>
                    <a:pt x="4291" y="1848"/>
                  </a:lnTo>
                  <a:lnTo>
                    <a:pt x="4308" y="1925"/>
                  </a:lnTo>
                  <a:lnTo>
                    <a:pt x="4320" y="2006"/>
                  </a:lnTo>
                  <a:lnTo>
                    <a:pt x="4324" y="2088"/>
                  </a:lnTo>
                  <a:lnTo>
                    <a:pt x="4320" y="2171"/>
                  </a:lnTo>
                  <a:lnTo>
                    <a:pt x="4308" y="2251"/>
                  </a:lnTo>
                  <a:lnTo>
                    <a:pt x="4290" y="2330"/>
                  </a:lnTo>
                  <a:lnTo>
                    <a:pt x="4265" y="2405"/>
                  </a:lnTo>
                  <a:lnTo>
                    <a:pt x="4232" y="2476"/>
                  </a:lnTo>
                  <a:lnTo>
                    <a:pt x="4194" y="2545"/>
                  </a:lnTo>
                  <a:lnTo>
                    <a:pt x="4151" y="2608"/>
                  </a:lnTo>
                  <a:lnTo>
                    <a:pt x="4101" y="2669"/>
                  </a:lnTo>
                  <a:lnTo>
                    <a:pt x="4048" y="2723"/>
                  </a:lnTo>
                  <a:lnTo>
                    <a:pt x="3989" y="2773"/>
                  </a:lnTo>
                  <a:lnTo>
                    <a:pt x="3926" y="2818"/>
                  </a:lnTo>
                  <a:lnTo>
                    <a:pt x="3859" y="2856"/>
                  </a:lnTo>
                  <a:lnTo>
                    <a:pt x="3788" y="2888"/>
                  </a:lnTo>
                  <a:lnTo>
                    <a:pt x="3713" y="2914"/>
                  </a:lnTo>
                  <a:lnTo>
                    <a:pt x="3636" y="2933"/>
                  </a:lnTo>
                  <a:lnTo>
                    <a:pt x="3557" y="2944"/>
                  </a:lnTo>
                  <a:lnTo>
                    <a:pt x="3475" y="2948"/>
                  </a:lnTo>
                  <a:lnTo>
                    <a:pt x="849" y="2948"/>
                  </a:lnTo>
                  <a:lnTo>
                    <a:pt x="767" y="2944"/>
                  </a:lnTo>
                  <a:lnTo>
                    <a:pt x="688" y="2933"/>
                  </a:lnTo>
                  <a:lnTo>
                    <a:pt x="611" y="2914"/>
                  </a:lnTo>
                  <a:lnTo>
                    <a:pt x="536" y="2888"/>
                  </a:lnTo>
                  <a:lnTo>
                    <a:pt x="465" y="2856"/>
                  </a:lnTo>
                  <a:lnTo>
                    <a:pt x="398" y="2818"/>
                  </a:lnTo>
                  <a:lnTo>
                    <a:pt x="335" y="2773"/>
                  </a:lnTo>
                  <a:lnTo>
                    <a:pt x="276" y="2723"/>
                  </a:lnTo>
                  <a:lnTo>
                    <a:pt x="223" y="2669"/>
                  </a:lnTo>
                  <a:lnTo>
                    <a:pt x="173" y="2608"/>
                  </a:lnTo>
                  <a:lnTo>
                    <a:pt x="130" y="2545"/>
                  </a:lnTo>
                  <a:lnTo>
                    <a:pt x="92" y="2476"/>
                  </a:lnTo>
                  <a:lnTo>
                    <a:pt x="59" y="2405"/>
                  </a:lnTo>
                  <a:lnTo>
                    <a:pt x="34" y="2330"/>
                  </a:lnTo>
                  <a:lnTo>
                    <a:pt x="16" y="2251"/>
                  </a:lnTo>
                  <a:lnTo>
                    <a:pt x="4" y="2171"/>
                  </a:lnTo>
                  <a:lnTo>
                    <a:pt x="0" y="2088"/>
                  </a:lnTo>
                  <a:lnTo>
                    <a:pt x="4" y="2003"/>
                  </a:lnTo>
                  <a:lnTo>
                    <a:pt x="16" y="1920"/>
                  </a:lnTo>
                  <a:lnTo>
                    <a:pt x="35" y="1841"/>
                  </a:lnTo>
                  <a:lnTo>
                    <a:pt x="62" y="1765"/>
                  </a:lnTo>
                  <a:lnTo>
                    <a:pt x="96" y="1691"/>
                  </a:lnTo>
                  <a:lnTo>
                    <a:pt x="135" y="1622"/>
                  </a:lnTo>
                  <a:lnTo>
                    <a:pt x="181" y="1558"/>
                  </a:lnTo>
                  <a:lnTo>
                    <a:pt x="232" y="1497"/>
                  </a:lnTo>
                  <a:lnTo>
                    <a:pt x="288" y="1442"/>
                  </a:lnTo>
                  <a:lnTo>
                    <a:pt x="350" y="1392"/>
                  </a:lnTo>
                  <a:lnTo>
                    <a:pt x="415" y="1348"/>
                  </a:lnTo>
                  <a:lnTo>
                    <a:pt x="485" y="1310"/>
                  </a:lnTo>
                  <a:lnTo>
                    <a:pt x="558" y="1280"/>
                  </a:lnTo>
                  <a:lnTo>
                    <a:pt x="635" y="1254"/>
                  </a:lnTo>
                  <a:lnTo>
                    <a:pt x="715" y="1239"/>
                  </a:lnTo>
                  <a:lnTo>
                    <a:pt x="709" y="1193"/>
                  </a:lnTo>
                  <a:lnTo>
                    <a:pt x="708" y="1145"/>
                  </a:lnTo>
                  <a:lnTo>
                    <a:pt x="711" y="1082"/>
                  </a:lnTo>
                  <a:lnTo>
                    <a:pt x="722" y="1020"/>
                  </a:lnTo>
                  <a:lnTo>
                    <a:pt x="739" y="962"/>
                  </a:lnTo>
                  <a:lnTo>
                    <a:pt x="763" y="905"/>
                  </a:lnTo>
                  <a:lnTo>
                    <a:pt x="791" y="852"/>
                  </a:lnTo>
                  <a:lnTo>
                    <a:pt x="825" y="805"/>
                  </a:lnTo>
                  <a:lnTo>
                    <a:pt x="865" y="760"/>
                  </a:lnTo>
                  <a:lnTo>
                    <a:pt x="909" y="719"/>
                  </a:lnTo>
                  <a:lnTo>
                    <a:pt x="957" y="685"/>
                  </a:lnTo>
                  <a:lnTo>
                    <a:pt x="1009" y="656"/>
                  </a:lnTo>
                  <a:lnTo>
                    <a:pt x="1064" y="632"/>
                  </a:lnTo>
                  <a:lnTo>
                    <a:pt x="1122" y="615"/>
                  </a:lnTo>
                  <a:lnTo>
                    <a:pt x="1182" y="603"/>
                  </a:lnTo>
                  <a:lnTo>
                    <a:pt x="1245" y="601"/>
                  </a:lnTo>
                  <a:lnTo>
                    <a:pt x="1310" y="605"/>
                  </a:lnTo>
                  <a:lnTo>
                    <a:pt x="1373" y="615"/>
                  </a:lnTo>
                  <a:lnTo>
                    <a:pt x="1433" y="635"/>
                  </a:lnTo>
                  <a:lnTo>
                    <a:pt x="1491" y="660"/>
                  </a:lnTo>
                  <a:lnTo>
                    <a:pt x="1544" y="692"/>
                  </a:lnTo>
                  <a:lnTo>
                    <a:pt x="1593" y="730"/>
                  </a:lnTo>
                  <a:lnTo>
                    <a:pt x="1617" y="676"/>
                  </a:lnTo>
                  <a:lnTo>
                    <a:pt x="1642" y="622"/>
                  </a:lnTo>
                  <a:lnTo>
                    <a:pt x="1668" y="569"/>
                  </a:lnTo>
                  <a:lnTo>
                    <a:pt x="1696" y="518"/>
                  </a:lnTo>
                  <a:lnTo>
                    <a:pt x="1724" y="468"/>
                  </a:lnTo>
                  <a:lnTo>
                    <a:pt x="1756" y="417"/>
                  </a:lnTo>
                  <a:lnTo>
                    <a:pt x="1789" y="371"/>
                  </a:lnTo>
                  <a:lnTo>
                    <a:pt x="1823" y="325"/>
                  </a:lnTo>
                  <a:lnTo>
                    <a:pt x="1861" y="282"/>
                  </a:lnTo>
                  <a:lnTo>
                    <a:pt x="1900" y="241"/>
                  </a:lnTo>
                  <a:lnTo>
                    <a:pt x="1943" y="203"/>
                  </a:lnTo>
                  <a:lnTo>
                    <a:pt x="1989" y="167"/>
                  </a:lnTo>
                  <a:lnTo>
                    <a:pt x="2038" y="134"/>
                  </a:lnTo>
                  <a:lnTo>
                    <a:pt x="2090" y="105"/>
                  </a:lnTo>
                  <a:lnTo>
                    <a:pt x="2146" y="77"/>
                  </a:lnTo>
                  <a:lnTo>
                    <a:pt x="2207" y="55"/>
                  </a:lnTo>
                  <a:lnTo>
                    <a:pt x="2271" y="35"/>
                  </a:lnTo>
                  <a:lnTo>
                    <a:pt x="2340" y="21"/>
                  </a:lnTo>
                  <a:lnTo>
                    <a:pt x="2414" y="9"/>
                  </a:lnTo>
                  <a:lnTo>
                    <a:pt x="2491" y="2"/>
                  </a:lnTo>
                  <a:lnTo>
                    <a:pt x="2575" y="0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9171E5EA-CBD2-48A7-8E0B-F1359B595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2686" y="1915683"/>
              <a:ext cx="310792" cy="305405"/>
            </a:xfrm>
            <a:custGeom>
              <a:avLst/>
              <a:gdLst>
                <a:gd name="T0" fmla="*/ 322 w 349"/>
                <a:gd name="T1" fmla="*/ 291 h 475"/>
                <a:gd name="T2" fmla="*/ 223 w 349"/>
                <a:gd name="T3" fmla="*/ 436 h 475"/>
                <a:gd name="T4" fmla="*/ 125 w 349"/>
                <a:gd name="T5" fmla="*/ 435 h 475"/>
                <a:gd name="T6" fmla="*/ 27 w 349"/>
                <a:gd name="T7" fmla="*/ 290 h 475"/>
                <a:gd name="T8" fmla="*/ 76 w 349"/>
                <a:gd name="T9" fmla="*/ 218 h 475"/>
                <a:gd name="T10" fmla="*/ 126 w 349"/>
                <a:gd name="T11" fmla="*/ 218 h 475"/>
                <a:gd name="T12" fmla="*/ 124 w 349"/>
                <a:gd name="T13" fmla="*/ 203 h 475"/>
                <a:gd name="T14" fmla="*/ 124 w 349"/>
                <a:gd name="T15" fmla="*/ 34 h 475"/>
                <a:gd name="T16" fmla="*/ 137 w 349"/>
                <a:gd name="T17" fmla="*/ 0 h 475"/>
                <a:gd name="T18" fmla="*/ 224 w 349"/>
                <a:gd name="T19" fmla="*/ 0 h 475"/>
                <a:gd name="T20" fmla="*/ 237 w 349"/>
                <a:gd name="T21" fmla="*/ 34 h 475"/>
                <a:gd name="T22" fmla="*/ 237 w 349"/>
                <a:gd name="T23" fmla="*/ 203 h 475"/>
                <a:gd name="T24" fmla="*/ 235 w 349"/>
                <a:gd name="T25" fmla="*/ 218 h 475"/>
                <a:gd name="T26" fmla="*/ 272 w 349"/>
                <a:gd name="T27" fmla="*/ 218 h 475"/>
                <a:gd name="T28" fmla="*/ 322 w 349"/>
                <a:gd name="T29" fmla="*/ 291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9" h="475">
                  <a:moveTo>
                    <a:pt x="322" y="291"/>
                  </a:moveTo>
                  <a:cubicBezTo>
                    <a:pt x="294" y="331"/>
                    <a:pt x="250" y="396"/>
                    <a:pt x="223" y="436"/>
                  </a:cubicBezTo>
                  <a:cubicBezTo>
                    <a:pt x="196" y="475"/>
                    <a:pt x="152" y="475"/>
                    <a:pt x="125" y="435"/>
                  </a:cubicBezTo>
                  <a:cubicBezTo>
                    <a:pt x="98" y="396"/>
                    <a:pt x="54" y="330"/>
                    <a:pt x="27" y="290"/>
                  </a:cubicBezTo>
                  <a:cubicBezTo>
                    <a:pt x="0" y="250"/>
                    <a:pt x="22" y="218"/>
                    <a:pt x="76" y="218"/>
                  </a:cubicBezTo>
                  <a:cubicBezTo>
                    <a:pt x="91" y="218"/>
                    <a:pt x="108" y="218"/>
                    <a:pt x="126" y="218"/>
                  </a:cubicBezTo>
                  <a:cubicBezTo>
                    <a:pt x="125" y="214"/>
                    <a:pt x="124" y="209"/>
                    <a:pt x="124" y="203"/>
                  </a:cubicBezTo>
                  <a:cubicBezTo>
                    <a:pt x="124" y="34"/>
                    <a:pt x="124" y="34"/>
                    <a:pt x="124" y="34"/>
                  </a:cubicBezTo>
                  <a:cubicBezTo>
                    <a:pt x="124" y="15"/>
                    <a:pt x="130" y="0"/>
                    <a:pt x="137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31" y="0"/>
                    <a:pt x="237" y="15"/>
                    <a:pt x="237" y="34"/>
                  </a:cubicBezTo>
                  <a:cubicBezTo>
                    <a:pt x="237" y="203"/>
                    <a:pt x="237" y="203"/>
                    <a:pt x="237" y="203"/>
                  </a:cubicBezTo>
                  <a:cubicBezTo>
                    <a:pt x="237" y="209"/>
                    <a:pt x="236" y="214"/>
                    <a:pt x="235" y="218"/>
                  </a:cubicBezTo>
                  <a:cubicBezTo>
                    <a:pt x="249" y="218"/>
                    <a:pt x="261" y="218"/>
                    <a:pt x="272" y="218"/>
                  </a:cubicBezTo>
                  <a:cubicBezTo>
                    <a:pt x="327" y="218"/>
                    <a:pt x="349" y="251"/>
                    <a:pt x="322" y="2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id="{A0100110-91C8-483C-AF10-186373339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3184" y="1922992"/>
              <a:ext cx="310086" cy="288000"/>
            </a:xfrm>
            <a:custGeom>
              <a:avLst/>
              <a:gdLst>
                <a:gd name="T0" fmla="*/ 272 w 348"/>
                <a:gd name="T1" fmla="*/ 257 h 475"/>
                <a:gd name="T2" fmla="*/ 235 w 348"/>
                <a:gd name="T3" fmla="*/ 257 h 475"/>
                <a:gd name="T4" fmla="*/ 237 w 348"/>
                <a:gd name="T5" fmla="*/ 272 h 475"/>
                <a:gd name="T6" fmla="*/ 237 w 348"/>
                <a:gd name="T7" fmla="*/ 441 h 475"/>
                <a:gd name="T8" fmla="*/ 224 w 348"/>
                <a:gd name="T9" fmla="*/ 475 h 475"/>
                <a:gd name="T10" fmla="*/ 137 w 348"/>
                <a:gd name="T11" fmla="*/ 475 h 475"/>
                <a:gd name="T12" fmla="*/ 124 w 348"/>
                <a:gd name="T13" fmla="*/ 441 h 475"/>
                <a:gd name="T14" fmla="*/ 124 w 348"/>
                <a:gd name="T15" fmla="*/ 272 h 475"/>
                <a:gd name="T16" fmla="*/ 125 w 348"/>
                <a:gd name="T17" fmla="*/ 257 h 475"/>
                <a:gd name="T18" fmla="*/ 76 w 348"/>
                <a:gd name="T19" fmla="*/ 257 h 475"/>
                <a:gd name="T20" fmla="*/ 27 w 348"/>
                <a:gd name="T21" fmla="*/ 185 h 475"/>
                <a:gd name="T22" fmla="*/ 125 w 348"/>
                <a:gd name="T23" fmla="*/ 40 h 475"/>
                <a:gd name="T24" fmla="*/ 223 w 348"/>
                <a:gd name="T25" fmla="*/ 39 h 475"/>
                <a:gd name="T26" fmla="*/ 321 w 348"/>
                <a:gd name="T27" fmla="*/ 184 h 475"/>
                <a:gd name="T28" fmla="*/ 272 w 348"/>
                <a:gd name="T29" fmla="*/ 257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8" h="475">
                  <a:moveTo>
                    <a:pt x="272" y="257"/>
                  </a:moveTo>
                  <a:cubicBezTo>
                    <a:pt x="261" y="257"/>
                    <a:pt x="249" y="257"/>
                    <a:pt x="235" y="257"/>
                  </a:cubicBezTo>
                  <a:cubicBezTo>
                    <a:pt x="236" y="261"/>
                    <a:pt x="237" y="266"/>
                    <a:pt x="237" y="272"/>
                  </a:cubicBezTo>
                  <a:cubicBezTo>
                    <a:pt x="237" y="441"/>
                    <a:pt x="237" y="441"/>
                    <a:pt x="237" y="441"/>
                  </a:cubicBezTo>
                  <a:cubicBezTo>
                    <a:pt x="237" y="460"/>
                    <a:pt x="231" y="475"/>
                    <a:pt x="224" y="475"/>
                  </a:cubicBezTo>
                  <a:cubicBezTo>
                    <a:pt x="137" y="475"/>
                    <a:pt x="137" y="475"/>
                    <a:pt x="137" y="475"/>
                  </a:cubicBezTo>
                  <a:cubicBezTo>
                    <a:pt x="130" y="475"/>
                    <a:pt x="124" y="460"/>
                    <a:pt x="124" y="441"/>
                  </a:cubicBezTo>
                  <a:cubicBezTo>
                    <a:pt x="124" y="272"/>
                    <a:pt x="124" y="272"/>
                    <a:pt x="124" y="272"/>
                  </a:cubicBezTo>
                  <a:cubicBezTo>
                    <a:pt x="124" y="266"/>
                    <a:pt x="125" y="261"/>
                    <a:pt x="125" y="257"/>
                  </a:cubicBezTo>
                  <a:cubicBezTo>
                    <a:pt x="107" y="257"/>
                    <a:pt x="90" y="257"/>
                    <a:pt x="76" y="257"/>
                  </a:cubicBezTo>
                  <a:cubicBezTo>
                    <a:pt x="22" y="257"/>
                    <a:pt x="0" y="225"/>
                    <a:pt x="27" y="185"/>
                  </a:cubicBezTo>
                  <a:cubicBezTo>
                    <a:pt x="54" y="145"/>
                    <a:pt x="98" y="79"/>
                    <a:pt x="125" y="40"/>
                  </a:cubicBezTo>
                  <a:cubicBezTo>
                    <a:pt x="152" y="0"/>
                    <a:pt x="196" y="0"/>
                    <a:pt x="223" y="39"/>
                  </a:cubicBezTo>
                  <a:cubicBezTo>
                    <a:pt x="250" y="79"/>
                    <a:pt x="294" y="144"/>
                    <a:pt x="321" y="184"/>
                  </a:cubicBezTo>
                  <a:cubicBezTo>
                    <a:pt x="348" y="224"/>
                    <a:pt x="326" y="257"/>
                    <a:pt x="272" y="2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10427070-667A-40CC-9F47-14C1D6DEF1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3359" y="869831"/>
              <a:ext cx="533997" cy="522263"/>
            </a:xfrm>
            <a:custGeom>
              <a:avLst/>
              <a:gdLst>
                <a:gd name="T0" fmla="*/ 300 w 600"/>
                <a:gd name="T1" fmla="*/ 600 h 600"/>
                <a:gd name="T2" fmla="*/ 0 w 600"/>
                <a:gd name="T3" fmla="*/ 300 h 600"/>
                <a:gd name="T4" fmla="*/ 300 w 600"/>
                <a:gd name="T5" fmla="*/ 0 h 600"/>
                <a:gd name="T6" fmla="*/ 600 w 600"/>
                <a:gd name="T7" fmla="*/ 300 h 600"/>
                <a:gd name="T8" fmla="*/ 300 w 600"/>
                <a:gd name="T9" fmla="*/ 600 h 600"/>
                <a:gd name="T10" fmla="*/ 300 w 600"/>
                <a:gd name="T11" fmla="*/ 18 h 600"/>
                <a:gd name="T12" fmla="*/ 18 w 600"/>
                <a:gd name="T13" fmla="*/ 300 h 600"/>
                <a:gd name="T14" fmla="*/ 300 w 600"/>
                <a:gd name="T15" fmla="*/ 582 h 600"/>
                <a:gd name="T16" fmla="*/ 582 w 600"/>
                <a:gd name="T17" fmla="*/ 300 h 600"/>
                <a:gd name="T18" fmla="*/ 300 w 600"/>
                <a:gd name="T19" fmla="*/ 18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0" h="600">
                  <a:moveTo>
                    <a:pt x="300" y="600"/>
                  </a:moveTo>
                  <a:cubicBezTo>
                    <a:pt x="135" y="600"/>
                    <a:pt x="0" y="465"/>
                    <a:pt x="0" y="300"/>
                  </a:cubicBezTo>
                  <a:cubicBezTo>
                    <a:pt x="0" y="135"/>
                    <a:pt x="135" y="0"/>
                    <a:pt x="300" y="0"/>
                  </a:cubicBezTo>
                  <a:cubicBezTo>
                    <a:pt x="465" y="0"/>
                    <a:pt x="600" y="135"/>
                    <a:pt x="600" y="300"/>
                  </a:cubicBezTo>
                  <a:cubicBezTo>
                    <a:pt x="600" y="465"/>
                    <a:pt x="465" y="600"/>
                    <a:pt x="300" y="600"/>
                  </a:cubicBezTo>
                  <a:close/>
                  <a:moveTo>
                    <a:pt x="300" y="18"/>
                  </a:moveTo>
                  <a:cubicBezTo>
                    <a:pt x="144" y="18"/>
                    <a:pt x="18" y="145"/>
                    <a:pt x="18" y="300"/>
                  </a:cubicBezTo>
                  <a:cubicBezTo>
                    <a:pt x="18" y="455"/>
                    <a:pt x="144" y="582"/>
                    <a:pt x="300" y="582"/>
                  </a:cubicBezTo>
                  <a:cubicBezTo>
                    <a:pt x="455" y="582"/>
                    <a:pt x="582" y="455"/>
                    <a:pt x="582" y="300"/>
                  </a:cubicBezTo>
                  <a:cubicBezTo>
                    <a:pt x="582" y="145"/>
                    <a:pt x="455" y="18"/>
                    <a:pt x="300" y="18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77E74100-46C2-4B65-BE1C-355E4825C5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098" y="1687767"/>
              <a:ext cx="534703" cy="522263"/>
            </a:xfrm>
            <a:custGeom>
              <a:avLst/>
              <a:gdLst>
                <a:gd name="T0" fmla="*/ 300 w 600"/>
                <a:gd name="T1" fmla="*/ 600 h 600"/>
                <a:gd name="T2" fmla="*/ 0 w 600"/>
                <a:gd name="T3" fmla="*/ 300 h 600"/>
                <a:gd name="T4" fmla="*/ 300 w 600"/>
                <a:gd name="T5" fmla="*/ 0 h 600"/>
                <a:gd name="T6" fmla="*/ 600 w 600"/>
                <a:gd name="T7" fmla="*/ 300 h 600"/>
                <a:gd name="T8" fmla="*/ 300 w 600"/>
                <a:gd name="T9" fmla="*/ 600 h 600"/>
                <a:gd name="T10" fmla="*/ 300 w 600"/>
                <a:gd name="T11" fmla="*/ 18 h 600"/>
                <a:gd name="T12" fmla="*/ 18 w 600"/>
                <a:gd name="T13" fmla="*/ 300 h 600"/>
                <a:gd name="T14" fmla="*/ 300 w 600"/>
                <a:gd name="T15" fmla="*/ 582 h 600"/>
                <a:gd name="T16" fmla="*/ 582 w 600"/>
                <a:gd name="T17" fmla="*/ 300 h 600"/>
                <a:gd name="T18" fmla="*/ 300 w 600"/>
                <a:gd name="T19" fmla="*/ 18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0" h="600">
                  <a:moveTo>
                    <a:pt x="300" y="600"/>
                  </a:moveTo>
                  <a:cubicBezTo>
                    <a:pt x="135" y="600"/>
                    <a:pt x="0" y="465"/>
                    <a:pt x="0" y="300"/>
                  </a:cubicBezTo>
                  <a:cubicBezTo>
                    <a:pt x="0" y="135"/>
                    <a:pt x="135" y="0"/>
                    <a:pt x="300" y="0"/>
                  </a:cubicBezTo>
                  <a:cubicBezTo>
                    <a:pt x="465" y="0"/>
                    <a:pt x="600" y="135"/>
                    <a:pt x="600" y="300"/>
                  </a:cubicBezTo>
                  <a:cubicBezTo>
                    <a:pt x="600" y="465"/>
                    <a:pt x="465" y="600"/>
                    <a:pt x="300" y="600"/>
                  </a:cubicBezTo>
                  <a:close/>
                  <a:moveTo>
                    <a:pt x="300" y="18"/>
                  </a:moveTo>
                  <a:cubicBezTo>
                    <a:pt x="145" y="18"/>
                    <a:pt x="18" y="145"/>
                    <a:pt x="18" y="300"/>
                  </a:cubicBezTo>
                  <a:cubicBezTo>
                    <a:pt x="18" y="455"/>
                    <a:pt x="145" y="582"/>
                    <a:pt x="300" y="582"/>
                  </a:cubicBezTo>
                  <a:cubicBezTo>
                    <a:pt x="455" y="582"/>
                    <a:pt x="582" y="455"/>
                    <a:pt x="582" y="300"/>
                  </a:cubicBezTo>
                  <a:cubicBezTo>
                    <a:pt x="582" y="145"/>
                    <a:pt x="455" y="18"/>
                    <a:pt x="300" y="18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E1313EAB-40A7-4C1E-9092-6FA48C8E47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1939" y="2516756"/>
              <a:ext cx="533997" cy="521572"/>
            </a:xfrm>
            <a:custGeom>
              <a:avLst/>
              <a:gdLst>
                <a:gd name="T0" fmla="*/ 300 w 600"/>
                <a:gd name="T1" fmla="*/ 599 h 599"/>
                <a:gd name="T2" fmla="*/ 0 w 600"/>
                <a:gd name="T3" fmla="*/ 299 h 599"/>
                <a:gd name="T4" fmla="*/ 300 w 600"/>
                <a:gd name="T5" fmla="*/ 0 h 599"/>
                <a:gd name="T6" fmla="*/ 600 w 600"/>
                <a:gd name="T7" fmla="*/ 299 h 599"/>
                <a:gd name="T8" fmla="*/ 300 w 600"/>
                <a:gd name="T9" fmla="*/ 599 h 599"/>
                <a:gd name="T10" fmla="*/ 300 w 600"/>
                <a:gd name="T11" fmla="*/ 18 h 599"/>
                <a:gd name="T12" fmla="*/ 18 w 600"/>
                <a:gd name="T13" fmla="*/ 299 h 599"/>
                <a:gd name="T14" fmla="*/ 300 w 600"/>
                <a:gd name="T15" fmla="*/ 581 h 599"/>
                <a:gd name="T16" fmla="*/ 582 w 600"/>
                <a:gd name="T17" fmla="*/ 299 h 599"/>
                <a:gd name="T18" fmla="*/ 300 w 600"/>
                <a:gd name="T19" fmla="*/ 18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0" h="599">
                  <a:moveTo>
                    <a:pt x="300" y="599"/>
                  </a:moveTo>
                  <a:cubicBezTo>
                    <a:pt x="135" y="599"/>
                    <a:pt x="0" y="465"/>
                    <a:pt x="0" y="299"/>
                  </a:cubicBezTo>
                  <a:cubicBezTo>
                    <a:pt x="0" y="134"/>
                    <a:pt x="135" y="0"/>
                    <a:pt x="300" y="0"/>
                  </a:cubicBezTo>
                  <a:cubicBezTo>
                    <a:pt x="466" y="0"/>
                    <a:pt x="600" y="134"/>
                    <a:pt x="600" y="299"/>
                  </a:cubicBezTo>
                  <a:cubicBezTo>
                    <a:pt x="600" y="465"/>
                    <a:pt x="466" y="599"/>
                    <a:pt x="300" y="599"/>
                  </a:cubicBezTo>
                  <a:close/>
                  <a:moveTo>
                    <a:pt x="300" y="18"/>
                  </a:moveTo>
                  <a:cubicBezTo>
                    <a:pt x="145" y="18"/>
                    <a:pt x="18" y="144"/>
                    <a:pt x="18" y="299"/>
                  </a:cubicBezTo>
                  <a:cubicBezTo>
                    <a:pt x="18" y="455"/>
                    <a:pt x="145" y="581"/>
                    <a:pt x="300" y="581"/>
                  </a:cubicBezTo>
                  <a:cubicBezTo>
                    <a:pt x="456" y="581"/>
                    <a:pt x="582" y="455"/>
                    <a:pt x="582" y="299"/>
                  </a:cubicBezTo>
                  <a:cubicBezTo>
                    <a:pt x="582" y="144"/>
                    <a:pt x="456" y="18"/>
                    <a:pt x="300" y="18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5822F5A-B5B2-405A-9D4F-D9A8AA8260D6}"/>
                </a:ext>
              </a:extLst>
            </p:cNvPr>
            <p:cNvGrpSpPr/>
            <p:nvPr/>
          </p:nvGrpSpPr>
          <p:grpSpPr>
            <a:xfrm>
              <a:off x="2030974" y="1922992"/>
              <a:ext cx="293139" cy="244552"/>
              <a:chOff x="2030974" y="1922992"/>
              <a:chExt cx="293139" cy="244552"/>
            </a:xfrm>
            <a:solidFill>
              <a:schemeClr val="tx2"/>
            </a:solidFill>
          </p:grpSpPr>
          <p:sp>
            <p:nvSpPr>
              <p:cNvPr id="155" name="Freeform 28">
                <a:extLst>
                  <a:ext uri="{FF2B5EF4-FFF2-40B4-BE49-F238E27FC236}">
                    <a16:creationId xmlns:a16="http://schemas.microsoft.com/office/drawing/2014/main" id="{0D632778-172C-4944-90EB-50314ACF35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980" y="2021779"/>
                <a:ext cx="293133" cy="75300"/>
              </a:xfrm>
              <a:custGeom>
                <a:avLst/>
                <a:gdLst>
                  <a:gd name="T0" fmla="*/ 312 w 329"/>
                  <a:gd name="T1" fmla="*/ 0 h 87"/>
                  <a:gd name="T2" fmla="*/ 164 w 329"/>
                  <a:gd name="T3" fmla="*/ 33 h 87"/>
                  <a:gd name="T4" fmla="*/ 17 w 329"/>
                  <a:gd name="T5" fmla="*/ 0 h 87"/>
                  <a:gd name="T6" fmla="*/ 0 w 329"/>
                  <a:gd name="T7" fmla="*/ 27 h 87"/>
                  <a:gd name="T8" fmla="*/ 164 w 329"/>
                  <a:gd name="T9" fmla="*/ 87 h 87"/>
                  <a:gd name="T10" fmla="*/ 329 w 329"/>
                  <a:gd name="T11" fmla="*/ 27 h 87"/>
                  <a:gd name="T12" fmla="*/ 312 w 329"/>
                  <a:gd name="T13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9" h="87">
                    <a:moveTo>
                      <a:pt x="312" y="0"/>
                    </a:moveTo>
                    <a:cubicBezTo>
                      <a:pt x="285" y="20"/>
                      <a:pt x="229" y="33"/>
                      <a:pt x="164" y="33"/>
                    </a:cubicBezTo>
                    <a:cubicBezTo>
                      <a:pt x="100" y="33"/>
                      <a:pt x="44" y="20"/>
                      <a:pt x="17" y="0"/>
                    </a:cubicBezTo>
                    <a:cubicBezTo>
                      <a:pt x="6" y="8"/>
                      <a:pt x="0" y="17"/>
                      <a:pt x="0" y="27"/>
                    </a:cubicBezTo>
                    <a:cubicBezTo>
                      <a:pt x="0" y="60"/>
                      <a:pt x="74" y="87"/>
                      <a:pt x="164" y="87"/>
                    </a:cubicBezTo>
                    <a:cubicBezTo>
                      <a:pt x="255" y="87"/>
                      <a:pt x="329" y="60"/>
                      <a:pt x="329" y="27"/>
                    </a:cubicBezTo>
                    <a:cubicBezTo>
                      <a:pt x="329" y="17"/>
                      <a:pt x="323" y="8"/>
                      <a:pt x="3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F0B9F11F-220B-48FE-B060-E837F5C6494C}"/>
                  </a:ext>
                </a:extLst>
              </p:cNvPr>
              <p:cNvGrpSpPr/>
              <p:nvPr/>
            </p:nvGrpSpPr>
            <p:grpSpPr>
              <a:xfrm>
                <a:off x="2030974" y="1922992"/>
                <a:ext cx="293133" cy="244552"/>
                <a:chOff x="1666506" y="2904309"/>
                <a:chExt cx="293133" cy="244552"/>
              </a:xfrm>
              <a:grpFill/>
            </p:grpSpPr>
            <p:sp>
              <p:nvSpPr>
                <p:cNvPr id="157" name="Freeform 27">
                  <a:extLst>
                    <a:ext uri="{FF2B5EF4-FFF2-40B4-BE49-F238E27FC236}">
                      <a16:creationId xmlns:a16="http://schemas.microsoft.com/office/drawing/2014/main" id="{82FF33C7-B651-4776-BF7B-B4D56FE072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6506" y="3072870"/>
                  <a:ext cx="293133" cy="75991"/>
                </a:xfrm>
                <a:custGeom>
                  <a:avLst/>
                  <a:gdLst>
                    <a:gd name="T0" fmla="*/ 312 w 329"/>
                    <a:gd name="T1" fmla="*/ 0 h 87"/>
                    <a:gd name="T2" fmla="*/ 164 w 329"/>
                    <a:gd name="T3" fmla="*/ 34 h 87"/>
                    <a:gd name="T4" fmla="*/ 17 w 329"/>
                    <a:gd name="T5" fmla="*/ 0 h 87"/>
                    <a:gd name="T6" fmla="*/ 0 w 329"/>
                    <a:gd name="T7" fmla="*/ 27 h 87"/>
                    <a:gd name="T8" fmla="*/ 164 w 329"/>
                    <a:gd name="T9" fmla="*/ 87 h 87"/>
                    <a:gd name="T10" fmla="*/ 329 w 329"/>
                    <a:gd name="T11" fmla="*/ 27 h 87"/>
                    <a:gd name="T12" fmla="*/ 312 w 329"/>
                    <a:gd name="T13" fmla="*/ 0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9" h="87">
                      <a:moveTo>
                        <a:pt x="312" y="0"/>
                      </a:moveTo>
                      <a:cubicBezTo>
                        <a:pt x="285" y="20"/>
                        <a:pt x="229" y="34"/>
                        <a:pt x="164" y="34"/>
                      </a:cubicBezTo>
                      <a:cubicBezTo>
                        <a:pt x="100" y="34"/>
                        <a:pt x="44" y="20"/>
                        <a:pt x="17" y="0"/>
                      </a:cubicBezTo>
                      <a:cubicBezTo>
                        <a:pt x="6" y="8"/>
                        <a:pt x="0" y="17"/>
                        <a:pt x="0" y="27"/>
                      </a:cubicBezTo>
                      <a:cubicBezTo>
                        <a:pt x="0" y="60"/>
                        <a:pt x="74" y="87"/>
                        <a:pt x="164" y="87"/>
                      </a:cubicBezTo>
                      <a:cubicBezTo>
                        <a:pt x="255" y="87"/>
                        <a:pt x="329" y="60"/>
                        <a:pt x="329" y="27"/>
                      </a:cubicBezTo>
                      <a:cubicBezTo>
                        <a:pt x="329" y="17"/>
                        <a:pt x="323" y="8"/>
                        <a:pt x="31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0958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Oval 29">
                  <a:extLst>
                    <a:ext uri="{FF2B5EF4-FFF2-40B4-BE49-F238E27FC236}">
                      <a16:creationId xmlns:a16="http://schemas.microsoft.com/office/drawing/2014/main" id="{92FEE2EF-76B5-4D82-97E8-95792B4AFF1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66506" y="2904309"/>
                  <a:ext cx="293133" cy="105005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0958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1963918F-1B07-4BB1-A0E4-6AC36E4FBB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6427" y="2766144"/>
              <a:ext cx="533291" cy="520882"/>
            </a:xfrm>
            <a:custGeom>
              <a:avLst/>
              <a:gdLst>
                <a:gd name="T0" fmla="*/ 299 w 599"/>
                <a:gd name="T1" fmla="*/ 599 h 599"/>
                <a:gd name="T2" fmla="*/ 0 w 599"/>
                <a:gd name="T3" fmla="*/ 300 h 599"/>
                <a:gd name="T4" fmla="*/ 299 w 599"/>
                <a:gd name="T5" fmla="*/ 0 h 599"/>
                <a:gd name="T6" fmla="*/ 599 w 599"/>
                <a:gd name="T7" fmla="*/ 300 h 599"/>
                <a:gd name="T8" fmla="*/ 299 w 599"/>
                <a:gd name="T9" fmla="*/ 599 h 599"/>
                <a:gd name="T10" fmla="*/ 299 w 599"/>
                <a:gd name="T11" fmla="*/ 18 h 599"/>
                <a:gd name="T12" fmla="*/ 18 w 599"/>
                <a:gd name="T13" fmla="*/ 300 h 599"/>
                <a:gd name="T14" fmla="*/ 299 w 599"/>
                <a:gd name="T15" fmla="*/ 581 h 599"/>
                <a:gd name="T16" fmla="*/ 581 w 599"/>
                <a:gd name="T17" fmla="*/ 300 h 599"/>
                <a:gd name="T18" fmla="*/ 299 w 599"/>
                <a:gd name="T19" fmla="*/ 18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" h="599">
                  <a:moveTo>
                    <a:pt x="299" y="599"/>
                  </a:moveTo>
                  <a:cubicBezTo>
                    <a:pt x="134" y="599"/>
                    <a:pt x="0" y="465"/>
                    <a:pt x="0" y="300"/>
                  </a:cubicBezTo>
                  <a:cubicBezTo>
                    <a:pt x="0" y="134"/>
                    <a:pt x="134" y="0"/>
                    <a:pt x="299" y="0"/>
                  </a:cubicBezTo>
                  <a:cubicBezTo>
                    <a:pt x="465" y="0"/>
                    <a:pt x="599" y="134"/>
                    <a:pt x="599" y="300"/>
                  </a:cubicBezTo>
                  <a:cubicBezTo>
                    <a:pt x="599" y="465"/>
                    <a:pt x="465" y="599"/>
                    <a:pt x="299" y="599"/>
                  </a:cubicBezTo>
                  <a:close/>
                  <a:moveTo>
                    <a:pt x="299" y="18"/>
                  </a:moveTo>
                  <a:cubicBezTo>
                    <a:pt x="144" y="18"/>
                    <a:pt x="18" y="144"/>
                    <a:pt x="18" y="300"/>
                  </a:cubicBezTo>
                  <a:cubicBezTo>
                    <a:pt x="18" y="455"/>
                    <a:pt x="144" y="581"/>
                    <a:pt x="299" y="581"/>
                  </a:cubicBezTo>
                  <a:cubicBezTo>
                    <a:pt x="455" y="581"/>
                    <a:pt x="581" y="455"/>
                    <a:pt x="581" y="300"/>
                  </a:cubicBezTo>
                  <a:cubicBezTo>
                    <a:pt x="581" y="144"/>
                    <a:pt x="455" y="18"/>
                    <a:pt x="299" y="18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CD1ED47C-D2A3-4111-84A6-0145CCCA18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6383" y="2766144"/>
              <a:ext cx="533291" cy="520882"/>
            </a:xfrm>
            <a:custGeom>
              <a:avLst/>
              <a:gdLst>
                <a:gd name="T0" fmla="*/ 299 w 599"/>
                <a:gd name="T1" fmla="*/ 599 h 599"/>
                <a:gd name="T2" fmla="*/ 0 w 599"/>
                <a:gd name="T3" fmla="*/ 300 h 599"/>
                <a:gd name="T4" fmla="*/ 299 w 599"/>
                <a:gd name="T5" fmla="*/ 0 h 599"/>
                <a:gd name="T6" fmla="*/ 599 w 599"/>
                <a:gd name="T7" fmla="*/ 300 h 599"/>
                <a:gd name="T8" fmla="*/ 299 w 599"/>
                <a:gd name="T9" fmla="*/ 599 h 599"/>
                <a:gd name="T10" fmla="*/ 299 w 599"/>
                <a:gd name="T11" fmla="*/ 18 h 599"/>
                <a:gd name="T12" fmla="*/ 18 w 599"/>
                <a:gd name="T13" fmla="*/ 300 h 599"/>
                <a:gd name="T14" fmla="*/ 299 w 599"/>
                <a:gd name="T15" fmla="*/ 581 h 599"/>
                <a:gd name="T16" fmla="*/ 581 w 599"/>
                <a:gd name="T17" fmla="*/ 300 h 599"/>
                <a:gd name="T18" fmla="*/ 299 w 599"/>
                <a:gd name="T19" fmla="*/ 18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9" h="599">
                  <a:moveTo>
                    <a:pt x="299" y="599"/>
                  </a:moveTo>
                  <a:cubicBezTo>
                    <a:pt x="134" y="599"/>
                    <a:pt x="0" y="465"/>
                    <a:pt x="0" y="300"/>
                  </a:cubicBezTo>
                  <a:cubicBezTo>
                    <a:pt x="0" y="134"/>
                    <a:pt x="134" y="0"/>
                    <a:pt x="299" y="0"/>
                  </a:cubicBezTo>
                  <a:cubicBezTo>
                    <a:pt x="465" y="0"/>
                    <a:pt x="599" y="134"/>
                    <a:pt x="599" y="300"/>
                  </a:cubicBezTo>
                  <a:cubicBezTo>
                    <a:pt x="599" y="465"/>
                    <a:pt x="465" y="599"/>
                    <a:pt x="299" y="599"/>
                  </a:cubicBezTo>
                  <a:close/>
                  <a:moveTo>
                    <a:pt x="299" y="18"/>
                  </a:moveTo>
                  <a:cubicBezTo>
                    <a:pt x="144" y="18"/>
                    <a:pt x="18" y="144"/>
                    <a:pt x="18" y="300"/>
                  </a:cubicBezTo>
                  <a:cubicBezTo>
                    <a:pt x="18" y="455"/>
                    <a:pt x="144" y="581"/>
                    <a:pt x="299" y="581"/>
                  </a:cubicBezTo>
                  <a:cubicBezTo>
                    <a:pt x="455" y="581"/>
                    <a:pt x="581" y="455"/>
                    <a:pt x="581" y="300"/>
                  </a:cubicBezTo>
                  <a:cubicBezTo>
                    <a:pt x="581" y="144"/>
                    <a:pt x="455" y="18"/>
                    <a:pt x="299" y="18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F782D58A-9968-4516-85CA-458BF03145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5927" y="2680481"/>
              <a:ext cx="632885" cy="618979"/>
            </a:xfrm>
            <a:custGeom>
              <a:avLst/>
              <a:gdLst>
                <a:gd name="T0" fmla="*/ 355 w 711"/>
                <a:gd name="T1" fmla="*/ 711 h 711"/>
                <a:gd name="T2" fmla="*/ 0 w 711"/>
                <a:gd name="T3" fmla="*/ 356 h 711"/>
                <a:gd name="T4" fmla="*/ 355 w 711"/>
                <a:gd name="T5" fmla="*/ 0 h 711"/>
                <a:gd name="T6" fmla="*/ 711 w 711"/>
                <a:gd name="T7" fmla="*/ 356 h 711"/>
                <a:gd name="T8" fmla="*/ 355 w 711"/>
                <a:gd name="T9" fmla="*/ 711 h 711"/>
                <a:gd name="T10" fmla="*/ 355 w 711"/>
                <a:gd name="T11" fmla="*/ 22 h 711"/>
                <a:gd name="T12" fmla="*/ 21 w 711"/>
                <a:gd name="T13" fmla="*/ 356 h 711"/>
                <a:gd name="T14" fmla="*/ 355 w 711"/>
                <a:gd name="T15" fmla="*/ 690 h 711"/>
                <a:gd name="T16" fmla="*/ 689 w 711"/>
                <a:gd name="T17" fmla="*/ 356 h 711"/>
                <a:gd name="T18" fmla="*/ 355 w 711"/>
                <a:gd name="T19" fmla="*/ 22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1" h="711">
                  <a:moveTo>
                    <a:pt x="355" y="711"/>
                  </a:moveTo>
                  <a:cubicBezTo>
                    <a:pt x="159" y="711"/>
                    <a:pt x="0" y="552"/>
                    <a:pt x="0" y="356"/>
                  </a:cubicBezTo>
                  <a:cubicBezTo>
                    <a:pt x="0" y="160"/>
                    <a:pt x="159" y="0"/>
                    <a:pt x="355" y="0"/>
                  </a:cubicBezTo>
                  <a:cubicBezTo>
                    <a:pt x="551" y="0"/>
                    <a:pt x="711" y="160"/>
                    <a:pt x="711" y="356"/>
                  </a:cubicBezTo>
                  <a:cubicBezTo>
                    <a:pt x="711" y="552"/>
                    <a:pt x="551" y="711"/>
                    <a:pt x="355" y="711"/>
                  </a:cubicBezTo>
                  <a:close/>
                  <a:moveTo>
                    <a:pt x="355" y="22"/>
                  </a:moveTo>
                  <a:cubicBezTo>
                    <a:pt x="171" y="22"/>
                    <a:pt x="21" y="171"/>
                    <a:pt x="21" y="356"/>
                  </a:cubicBezTo>
                  <a:cubicBezTo>
                    <a:pt x="21" y="540"/>
                    <a:pt x="171" y="690"/>
                    <a:pt x="355" y="690"/>
                  </a:cubicBezTo>
                  <a:cubicBezTo>
                    <a:pt x="540" y="690"/>
                    <a:pt x="689" y="540"/>
                    <a:pt x="689" y="356"/>
                  </a:cubicBezTo>
                  <a:cubicBezTo>
                    <a:pt x="689" y="171"/>
                    <a:pt x="540" y="22"/>
                    <a:pt x="355" y="22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id="{6846C238-7704-4B77-AB15-DD5A63CDB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6005" y="2814501"/>
              <a:ext cx="303729" cy="211392"/>
            </a:xfrm>
            <a:custGeom>
              <a:avLst/>
              <a:gdLst>
                <a:gd name="T0" fmla="*/ 12 w 430"/>
                <a:gd name="T1" fmla="*/ 303 h 306"/>
                <a:gd name="T2" fmla="*/ 0 w 430"/>
                <a:gd name="T3" fmla="*/ 241 h 306"/>
                <a:gd name="T4" fmla="*/ 11 w 430"/>
                <a:gd name="T5" fmla="*/ 13 h 306"/>
                <a:gd name="T6" fmla="*/ 55 w 430"/>
                <a:gd name="T7" fmla="*/ 3 h 306"/>
                <a:gd name="T8" fmla="*/ 408 w 430"/>
                <a:gd name="T9" fmla="*/ 0 h 306"/>
                <a:gd name="T10" fmla="*/ 430 w 430"/>
                <a:gd name="T11" fmla="*/ 35 h 306"/>
                <a:gd name="T12" fmla="*/ 425 w 430"/>
                <a:gd name="T13" fmla="*/ 279 h 306"/>
                <a:gd name="T14" fmla="*/ 402 w 430"/>
                <a:gd name="T15" fmla="*/ 306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0" h="306">
                  <a:moveTo>
                    <a:pt x="12" y="303"/>
                  </a:moveTo>
                  <a:lnTo>
                    <a:pt x="0" y="241"/>
                  </a:lnTo>
                  <a:lnTo>
                    <a:pt x="11" y="13"/>
                  </a:lnTo>
                  <a:lnTo>
                    <a:pt x="55" y="3"/>
                  </a:lnTo>
                  <a:lnTo>
                    <a:pt x="408" y="0"/>
                  </a:lnTo>
                  <a:lnTo>
                    <a:pt x="430" y="35"/>
                  </a:lnTo>
                  <a:lnTo>
                    <a:pt x="425" y="279"/>
                  </a:lnTo>
                  <a:lnTo>
                    <a:pt x="402" y="30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6" name="Freeform 39">
              <a:extLst>
                <a:ext uri="{FF2B5EF4-FFF2-40B4-BE49-F238E27FC236}">
                  <a16:creationId xmlns:a16="http://schemas.microsoft.com/office/drawing/2014/main" id="{7BEF3568-6989-4E6D-95CF-932C751C3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280" y="1576544"/>
              <a:ext cx="38849" cy="36614"/>
            </a:xfrm>
            <a:custGeom>
              <a:avLst/>
              <a:gdLst>
                <a:gd name="T0" fmla="*/ 38 w 43"/>
                <a:gd name="T1" fmla="*/ 29 h 42"/>
                <a:gd name="T2" fmla="*/ 29 w 43"/>
                <a:gd name="T3" fmla="*/ 4 h 42"/>
                <a:gd name="T4" fmla="*/ 4 w 43"/>
                <a:gd name="T5" fmla="*/ 14 h 42"/>
                <a:gd name="T6" fmla="*/ 14 w 43"/>
                <a:gd name="T7" fmla="*/ 38 h 42"/>
                <a:gd name="T8" fmla="*/ 38 w 43"/>
                <a:gd name="T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38" y="29"/>
                  </a:moveTo>
                  <a:cubicBezTo>
                    <a:pt x="43" y="20"/>
                    <a:pt x="38" y="9"/>
                    <a:pt x="29" y="4"/>
                  </a:cubicBezTo>
                  <a:cubicBezTo>
                    <a:pt x="20" y="0"/>
                    <a:pt x="9" y="4"/>
                    <a:pt x="4" y="14"/>
                  </a:cubicBezTo>
                  <a:cubicBezTo>
                    <a:pt x="0" y="23"/>
                    <a:pt x="4" y="34"/>
                    <a:pt x="14" y="38"/>
                  </a:cubicBezTo>
                  <a:cubicBezTo>
                    <a:pt x="23" y="42"/>
                    <a:pt x="34" y="38"/>
                    <a:pt x="38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7" name="Freeform 40">
              <a:extLst>
                <a:ext uri="{FF2B5EF4-FFF2-40B4-BE49-F238E27FC236}">
                  <a16:creationId xmlns:a16="http://schemas.microsoft.com/office/drawing/2014/main" id="{E9A5CB72-0C40-4647-990C-E1B847BBB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4185" y="1552365"/>
              <a:ext cx="37436" cy="36614"/>
            </a:xfrm>
            <a:custGeom>
              <a:avLst/>
              <a:gdLst>
                <a:gd name="T0" fmla="*/ 38 w 42"/>
                <a:gd name="T1" fmla="*/ 29 h 42"/>
                <a:gd name="T2" fmla="*/ 28 w 42"/>
                <a:gd name="T3" fmla="*/ 4 h 42"/>
                <a:gd name="T4" fmla="*/ 4 w 42"/>
                <a:gd name="T5" fmla="*/ 13 h 42"/>
                <a:gd name="T6" fmla="*/ 13 w 42"/>
                <a:gd name="T7" fmla="*/ 38 h 42"/>
                <a:gd name="T8" fmla="*/ 38 w 42"/>
                <a:gd name="T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2">
                  <a:moveTo>
                    <a:pt x="38" y="29"/>
                  </a:moveTo>
                  <a:cubicBezTo>
                    <a:pt x="42" y="19"/>
                    <a:pt x="38" y="8"/>
                    <a:pt x="28" y="4"/>
                  </a:cubicBezTo>
                  <a:cubicBezTo>
                    <a:pt x="19" y="0"/>
                    <a:pt x="8" y="4"/>
                    <a:pt x="4" y="13"/>
                  </a:cubicBezTo>
                  <a:cubicBezTo>
                    <a:pt x="0" y="23"/>
                    <a:pt x="4" y="34"/>
                    <a:pt x="13" y="38"/>
                  </a:cubicBezTo>
                  <a:cubicBezTo>
                    <a:pt x="22" y="42"/>
                    <a:pt x="34" y="38"/>
                    <a:pt x="38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8" name="Freeform 41">
              <a:extLst>
                <a:ext uri="{FF2B5EF4-FFF2-40B4-BE49-F238E27FC236}">
                  <a16:creationId xmlns:a16="http://schemas.microsoft.com/office/drawing/2014/main" id="{32B3B9D5-3E7C-4FDB-8A2E-EC9FE17B4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8384" y="1526805"/>
              <a:ext cx="37436" cy="37305"/>
            </a:xfrm>
            <a:custGeom>
              <a:avLst/>
              <a:gdLst>
                <a:gd name="T0" fmla="*/ 38 w 42"/>
                <a:gd name="T1" fmla="*/ 29 h 43"/>
                <a:gd name="T2" fmla="*/ 29 w 42"/>
                <a:gd name="T3" fmla="*/ 5 h 43"/>
                <a:gd name="T4" fmla="*/ 4 w 42"/>
                <a:gd name="T5" fmla="*/ 14 h 43"/>
                <a:gd name="T6" fmla="*/ 14 w 42"/>
                <a:gd name="T7" fmla="*/ 39 h 43"/>
                <a:gd name="T8" fmla="*/ 38 w 42"/>
                <a:gd name="T9" fmla="*/ 2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3">
                  <a:moveTo>
                    <a:pt x="38" y="29"/>
                  </a:moveTo>
                  <a:cubicBezTo>
                    <a:pt x="42" y="20"/>
                    <a:pt x="38" y="9"/>
                    <a:pt x="29" y="5"/>
                  </a:cubicBezTo>
                  <a:cubicBezTo>
                    <a:pt x="20" y="0"/>
                    <a:pt x="9" y="5"/>
                    <a:pt x="4" y="14"/>
                  </a:cubicBezTo>
                  <a:cubicBezTo>
                    <a:pt x="0" y="23"/>
                    <a:pt x="4" y="34"/>
                    <a:pt x="14" y="39"/>
                  </a:cubicBezTo>
                  <a:cubicBezTo>
                    <a:pt x="23" y="43"/>
                    <a:pt x="34" y="39"/>
                    <a:pt x="38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9" name="Freeform 42">
              <a:extLst>
                <a:ext uri="{FF2B5EF4-FFF2-40B4-BE49-F238E27FC236}">
                  <a16:creationId xmlns:a16="http://schemas.microsoft.com/office/drawing/2014/main" id="{015B8B93-7575-4AE8-8613-BAE2C95BB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876" y="1502626"/>
              <a:ext cx="38849" cy="36614"/>
            </a:xfrm>
            <a:custGeom>
              <a:avLst/>
              <a:gdLst>
                <a:gd name="T0" fmla="*/ 39 w 43"/>
                <a:gd name="T1" fmla="*/ 29 h 42"/>
                <a:gd name="T2" fmla="*/ 29 w 43"/>
                <a:gd name="T3" fmla="*/ 4 h 42"/>
                <a:gd name="T4" fmla="*/ 5 w 43"/>
                <a:gd name="T5" fmla="*/ 14 h 42"/>
                <a:gd name="T6" fmla="*/ 14 w 43"/>
                <a:gd name="T7" fmla="*/ 38 h 42"/>
                <a:gd name="T8" fmla="*/ 39 w 43"/>
                <a:gd name="T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39" y="29"/>
                  </a:moveTo>
                  <a:cubicBezTo>
                    <a:pt x="43" y="20"/>
                    <a:pt x="39" y="9"/>
                    <a:pt x="29" y="4"/>
                  </a:cubicBezTo>
                  <a:cubicBezTo>
                    <a:pt x="20" y="0"/>
                    <a:pt x="9" y="4"/>
                    <a:pt x="5" y="14"/>
                  </a:cubicBezTo>
                  <a:cubicBezTo>
                    <a:pt x="0" y="23"/>
                    <a:pt x="5" y="34"/>
                    <a:pt x="14" y="38"/>
                  </a:cubicBezTo>
                  <a:cubicBezTo>
                    <a:pt x="23" y="42"/>
                    <a:pt x="34" y="38"/>
                    <a:pt x="39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0" name="Freeform 43">
              <a:extLst>
                <a:ext uri="{FF2B5EF4-FFF2-40B4-BE49-F238E27FC236}">
                  <a16:creationId xmlns:a16="http://schemas.microsoft.com/office/drawing/2014/main" id="{91010DED-4E79-4530-A256-BFC581B95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6781" y="1478447"/>
              <a:ext cx="37436" cy="36614"/>
            </a:xfrm>
            <a:custGeom>
              <a:avLst/>
              <a:gdLst>
                <a:gd name="T0" fmla="*/ 38 w 42"/>
                <a:gd name="T1" fmla="*/ 29 h 42"/>
                <a:gd name="T2" fmla="*/ 29 w 42"/>
                <a:gd name="T3" fmla="*/ 4 h 42"/>
                <a:gd name="T4" fmla="*/ 4 w 42"/>
                <a:gd name="T5" fmla="*/ 13 h 42"/>
                <a:gd name="T6" fmla="*/ 13 w 42"/>
                <a:gd name="T7" fmla="*/ 38 h 42"/>
                <a:gd name="T8" fmla="*/ 38 w 42"/>
                <a:gd name="T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2">
                  <a:moveTo>
                    <a:pt x="38" y="29"/>
                  </a:moveTo>
                  <a:cubicBezTo>
                    <a:pt x="42" y="19"/>
                    <a:pt x="38" y="8"/>
                    <a:pt x="29" y="4"/>
                  </a:cubicBezTo>
                  <a:cubicBezTo>
                    <a:pt x="19" y="0"/>
                    <a:pt x="8" y="4"/>
                    <a:pt x="4" y="13"/>
                  </a:cubicBezTo>
                  <a:cubicBezTo>
                    <a:pt x="0" y="23"/>
                    <a:pt x="4" y="34"/>
                    <a:pt x="13" y="38"/>
                  </a:cubicBezTo>
                  <a:cubicBezTo>
                    <a:pt x="23" y="42"/>
                    <a:pt x="34" y="38"/>
                    <a:pt x="38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1" name="Freeform 44">
              <a:extLst>
                <a:ext uri="{FF2B5EF4-FFF2-40B4-BE49-F238E27FC236}">
                  <a16:creationId xmlns:a16="http://schemas.microsoft.com/office/drawing/2014/main" id="{2F358AB2-397D-442E-96C8-E47789C42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980" y="1452887"/>
              <a:ext cx="38143" cy="37305"/>
            </a:xfrm>
            <a:custGeom>
              <a:avLst/>
              <a:gdLst>
                <a:gd name="T0" fmla="*/ 39 w 43"/>
                <a:gd name="T1" fmla="*/ 29 h 43"/>
                <a:gd name="T2" fmla="*/ 29 w 43"/>
                <a:gd name="T3" fmla="*/ 5 h 43"/>
                <a:gd name="T4" fmla="*/ 5 w 43"/>
                <a:gd name="T5" fmla="*/ 14 h 43"/>
                <a:gd name="T6" fmla="*/ 14 w 43"/>
                <a:gd name="T7" fmla="*/ 39 h 43"/>
                <a:gd name="T8" fmla="*/ 39 w 43"/>
                <a:gd name="T9" fmla="*/ 2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39" y="29"/>
                  </a:moveTo>
                  <a:cubicBezTo>
                    <a:pt x="43" y="20"/>
                    <a:pt x="39" y="9"/>
                    <a:pt x="29" y="5"/>
                  </a:cubicBezTo>
                  <a:cubicBezTo>
                    <a:pt x="20" y="0"/>
                    <a:pt x="9" y="5"/>
                    <a:pt x="5" y="14"/>
                  </a:cubicBezTo>
                  <a:cubicBezTo>
                    <a:pt x="0" y="23"/>
                    <a:pt x="5" y="34"/>
                    <a:pt x="14" y="39"/>
                  </a:cubicBezTo>
                  <a:cubicBezTo>
                    <a:pt x="23" y="43"/>
                    <a:pt x="34" y="39"/>
                    <a:pt x="39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2" name="Freeform 45">
              <a:extLst>
                <a:ext uri="{FF2B5EF4-FFF2-40B4-BE49-F238E27FC236}">
                  <a16:creationId xmlns:a16="http://schemas.microsoft.com/office/drawing/2014/main" id="{1DBA3650-F4BA-4C7C-AFAC-0C563BB81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5885" y="1428708"/>
              <a:ext cx="37436" cy="36614"/>
            </a:xfrm>
            <a:custGeom>
              <a:avLst/>
              <a:gdLst>
                <a:gd name="T0" fmla="*/ 38 w 42"/>
                <a:gd name="T1" fmla="*/ 29 h 42"/>
                <a:gd name="T2" fmla="*/ 29 w 42"/>
                <a:gd name="T3" fmla="*/ 4 h 42"/>
                <a:gd name="T4" fmla="*/ 4 w 42"/>
                <a:gd name="T5" fmla="*/ 14 h 42"/>
                <a:gd name="T6" fmla="*/ 13 w 42"/>
                <a:gd name="T7" fmla="*/ 38 h 42"/>
                <a:gd name="T8" fmla="*/ 38 w 42"/>
                <a:gd name="T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2">
                  <a:moveTo>
                    <a:pt x="38" y="29"/>
                  </a:moveTo>
                  <a:cubicBezTo>
                    <a:pt x="42" y="20"/>
                    <a:pt x="38" y="9"/>
                    <a:pt x="29" y="4"/>
                  </a:cubicBezTo>
                  <a:cubicBezTo>
                    <a:pt x="19" y="0"/>
                    <a:pt x="8" y="4"/>
                    <a:pt x="4" y="14"/>
                  </a:cubicBezTo>
                  <a:cubicBezTo>
                    <a:pt x="0" y="23"/>
                    <a:pt x="4" y="34"/>
                    <a:pt x="13" y="38"/>
                  </a:cubicBezTo>
                  <a:cubicBezTo>
                    <a:pt x="23" y="42"/>
                    <a:pt x="34" y="38"/>
                    <a:pt x="38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3" name="Freeform 46">
              <a:extLst>
                <a:ext uri="{FF2B5EF4-FFF2-40B4-BE49-F238E27FC236}">
                  <a16:creationId xmlns:a16="http://schemas.microsoft.com/office/drawing/2014/main" id="{D9088442-1058-4203-AEE8-C3BDEE87A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9377" y="1404529"/>
              <a:ext cx="38143" cy="35923"/>
            </a:xfrm>
            <a:custGeom>
              <a:avLst/>
              <a:gdLst>
                <a:gd name="T0" fmla="*/ 39 w 43"/>
                <a:gd name="T1" fmla="*/ 29 h 42"/>
                <a:gd name="T2" fmla="*/ 29 w 43"/>
                <a:gd name="T3" fmla="*/ 4 h 42"/>
                <a:gd name="T4" fmla="*/ 5 w 43"/>
                <a:gd name="T5" fmla="*/ 13 h 42"/>
                <a:gd name="T6" fmla="*/ 14 w 43"/>
                <a:gd name="T7" fmla="*/ 38 h 42"/>
                <a:gd name="T8" fmla="*/ 39 w 43"/>
                <a:gd name="T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39" y="29"/>
                  </a:moveTo>
                  <a:cubicBezTo>
                    <a:pt x="43" y="19"/>
                    <a:pt x="39" y="8"/>
                    <a:pt x="29" y="4"/>
                  </a:cubicBezTo>
                  <a:cubicBezTo>
                    <a:pt x="20" y="0"/>
                    <a:pt x="9" y="4"/>
                    <a:pt x="5" y="13"/>
                  </a:cubicBezTo>
                  <a:cubicBezTo>
                    <a:pt x="0" y="23"/>
                    <a:pt x="4" y="34"/>
                    <a:pt x="14" y="38"/>
                  </a:cubicBezTo>
                  <a:cubicBezTo>
                    <a:pt x="23" y="42"/>
                    <a:pt x="34" y="38"/>
                    <a:pt x="39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4" name="Freeform 47">
              <a:extLst>
                <a:ext uri="{FF2B5EF4-FFF2-40B4-BE49-F238E27FC236}">
                  <a16:creationId xmlns:a16="http://schemas.microsoft.com/office/drawing/2014/main" id="{007F6492-7E67-4408-B9C9-3699FC6A1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4283" y="1378968"/>
              <a:ext cx="37436" cy="37305"/>
            </a:xfrm>
            <a:custGeom>
              <a:avLst/>
              <a:gdLst>
                <a:gd name="T0" fmla="*/ 38 w 42"/>
                <a:gd name="T1" fmla="*/ 29 h 43"/>
                <a:gd name="T2" fmla="*/ 29 w 42"/>
                <a:gd name="T3" fmla="*/ 5 h 43"/>
                <a:gd name="T4" fmla="*/ 4 w 42"/>
                <a:gd name="T5" fmla="*/ 14 h 43"/>
                <a:gd name="T6" fmla="*/ 13 w 42"/>
                <a:gd name="T7" fmla="*/ 39 h 43"/>
                <a:gd name="T8" fmla="*/ 38 w 42"/>
                <a:gd name="T9" fmla="*/ 2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3">
                  <a:moveTo>
                    <a:pt x="38" y="29"/>
                  </a:moveTo>
                  <a:cubicBezTo>
                    <a:pt x="42" y="20"/>
                    <a:pt x="38" y="9"/>
                    <a:pt x="29" y="5"/>
                  </a:cubicBezTo>
                  <a:cubicBezTo>
                    <a:pt x="19" y="0"/>
                    <a:pt x="8" y="5"/>
                    <a:pt x="4" y="14"/>
                  </a:cubicBezTo>
                  <a:cubicBezTo>
                    <a:pt x="0" y="23"/>
                    <a:pt x="4" y="34"/>
                    <a:pt x="13" y="39"/>
                  </a:cubicBezTo>
                  <a:cubicBezTo>
                    <a:pt x="23" y="43"/>
                    <a:pt x="34" y="39"/>
                    <a:pt x="38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5" name="Freeform 48">
              <a:extLst>
                <a:ext uri="{FF2B5EF4-FFF2-40B4-BE49-F238E27FC236}">
                  <a16:creationId xmlns:a16="http://schemas.microsoft.com/office/drawing/2014/main" id="{3A091963-5AE9-41DA-B8B5-DECF92F6F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8481" y="1354790"/>
              <a:ext cx="38143" cy="36614"/>
            </a:xfrm>
            <a:custGeom>
              <a:avLst/>
              <a:gdLst>
                <a:gd name="T0" fmla="*/ 38 w 43"/>
                <a:gd name="T1" fmla="*/ 29 h 42"/>
                <a:gd name="T2" fmla="*/ 29 w 43"/>
                <a:gd name="T3" fmla="*/ 4 h 42"/>
                <a:gd name="T4" fmla="*/ 4 w 43"/>
                <a:gd name="T5" fmla="*/ 14 h 42"/>
                <a:gd name="T6" fmla="*/ 14 w 43"/>
                <a:gd name="T7" fmla="*/ 38 h 42"/>
                <a:gd name="T8" fmla="*/ 38 w 43"/>
                <a:gd name="T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38" y="29"/>
                  </a:moveTo>
                  <a:cubicBezTo>
                    <a:pt x="43" y="20"/>
                    <a:pt x="39" y="9"/>
                    <a:pt x="29" y="4"/>
                  </a:cubicBezTo>
                  <a:cubicBezTo>
                    <a:pt x="20" y="0"/>
                    <a:pt x="9" y="4"/>
                    <a:pt x="4" y="14"/>
                  </a:cubicBezTo>
                  <a:cubicBezTo>
                    <a:pt x="0" y="23"/>
                    <a:pt x="4" y="34"/>
                    <a:pt x="14" y="38"/>
                  </a:cubicBezTo>
                  <a:cubicBezTo>
                    <a:pt x="23" y="42"/>
                    <a:pt x="34" y="38"/>
                    <a:pt x="38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6" name="Freeform 49">
              <a:extLst>
                <a:ext uri="{FF2B5EF4-FFF2-40B4-BE49-F238E27FC236}">
                  <a16:creationId xmlns:a16="http://schemas.microsoft.com/office/drawing/2014/main" id="{0A58DA71-F263-4382-A7A8-934D1E7BD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680" y="1329920"/>
              <a:ext cx="37436" cy="36614"/>
            </a:xfrm>
            <a:custGeom>
              <a:avLst/>
              <a:gdLst>
                <a:gd name="T0" fmla="*/ 38 w 42"/>
                <a:gd name="T1" fmla="*/ 29 h 42"/>
                <a:gd name="T2" fmla="*/ 29 w 42"/>
                <a:gd name="T3" fmla="*/ 4 h 42"/>
                <a:gd name="T4" fmla="*/ 4 w 42"/>
                <a:gd name="T5" fmla="*/ 13 h 42"/>
                <a:gd name="T6" fmla="*/ 13 w 42"/>
                <a:gd name="T7" fmla="*/ 38 h 42"/>
                <a:gd name="T8" fmla="*/ 38 w 42"/>
                <a:gd name="T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2">
                  <a:moveTo>
                    <a:pt x="38" y="29"/>
                  </a:moveTo>
                  <a:cubicBezTo>
                    <a:pt x="42" y="19"/>
                    <a:pt x="38" y="8"/>
                    <a:pt x="29" y="4"/>
                  </a:cubicBezTo>
                  <a:cubicBezTo>
                    <a:pt x="19" y="0"/>
                    <a:pt x="8" y="4"/>
                    <a:pt x="4" y="13"/>
                  </a:cubicBezTo>
                  <a:cubicBezTo>
                    <a:pt x="0" y="23"/>
                    <a:pt x="4" y="34"/>
                    <a:pt x="13" y="38"/>
                  </a:cubicBezTo>
                  <a:cubicBezTo>
                    <a:pt x="23" y="42"/>
                    <a:pt x="34" y="38"/>
                    <a:pt x="38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7" name="Freeform 50">
              <a:extLst>
                <a:ext uri="{FF2B5EF4-FFF2-40B4-BE49-F238E27FC236}">
                  <a16:creationId xmlns:a16="http://schemas.microsoft.com/office/drawing/2014/main" id="{2F706E89-3897-46B8-89CF-7BFB0DDAB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6879" y="1305050"/>
              <a:ext cx="38143" cy="37305"/>
            </a:xfrm>
            <a:custGeom>
              <a:avLst/>
              <a:gdLst>
                <a:gd name="T0" fmla="*/ 38 w 43"/>
                <a:gd name="T1" fmla="*/ 29 h 43"/>
                <a:gd name="T2" fmla="*/ 29 w 43"/>
                <a:gd name="T3" fmla="*/ 5 h 43"/>
                <a:gd name="T4" fmla="*/ 4 w 43"/>
                <a:gd name="T5" fmla="*/ 14 h 43"/>
                <a:gd name="T6" fmla="*/ 14 w 43"/>
                <a:gd name="T7" fmla="*/ 39 h 43"/>
                <a:gd name="T8" fmla="*/ 38 w 43"/>
                <a:gd name="T9" fmla="*/ 2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38" y="29"/>
                  </a:moveTo>
                  <a:cubicBezTo>
                    <a:pt x="43" y="20"/>
                    <a:pt x="38" y="9"/>
                    <a:pt x="29" y="5"/>
                  </a:cubicBezTo>
                  <a:cubicBezTo>
                    <a:pt x="20" y="0"/>
                    <a:pt x="9" y="4"/>
                    <a:pt x="4" y="14"/>
                  </a:cubicBezTo>
                  <a:cubicBezTo>
                    <a:pt x="0" y="23"/>
                    <a:pt x="4" y="34"/>
                    <a:pt x="14" y="39"/>
                  </a:cubicBezTo>
                  <a:cubicBezTo>
                    <a:pt x="23" y="43"/>
                    <a:pt x="34" y="39"/>
                    <a:pt x="38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8" name="Freeform 51">
              <a:extLst>
                <a:ext uri="{FF2B5EF4-FFF2-40B4-BE49-F238E27FC236}">
                  <a16:creationId xmlns:a16="http://schemas.microsoft.com/office/drawing/2014/main" id="{15E7C580-768A-475E-BF1B-7FEBCB20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784" y="1280871"/>
              <a:ext cx="37436" cy="35923"/>
            </a:xfrm>
            <a:custGeom>
              <a:avLst/>
              <a:gdLst>
                <a:gd name="T0" fmla="*/ 38 w 42"/>
                <a:gd name="T1" fmla="*/ 29 h 42"/>
                <a:gd name="T2" fmla="*/ 29 w 42"/>
                <a:gd name="T3" fmla="*/ 4 h 42"/>
                <a:gd name="T4" fmla="*/ 4 w 42"/>
                <a:gd name="T5" fmla="*/ 14 h 42"/>
                <a:gd name="T6" fmla="*/ 13 w 42"/>
                <a:gd name="T7" fmla="*/ 38 h 42"/>
                <a:gd name="T8" fmla="*/ 38 w 42"/>
                <a:gd name="T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2">
                  <a:moveTo>
                    <a:pt x="38" y="29"/>
                  </a:moveTo>
                  <a:cubicBezTo>
                    <a:pt x="42" y="20"/>
                    <a:pt x="38" y="8"/>
                    <a:pt x="29" y="4"/>
                  </a:cubicBezTo>
                  <a:cubicBezTo>
                    <a:pt x="19" y="0"/>
                    <a:pt x="8" y="4"/>
                    <a:pt x="4" y="14"/>
                  </a:cubicBezTo>
                  <a:cubicBezTo>
                    <a:pt x="0" y="23"/>
                    <a:pt x="4" y="34"/>
                    <a:pt x="13" y="38"/>
                  </a:cubicBezTo>
                  <a:cubicBezTo>
                    <a:pt x="23" y="42"/>
                    <a:pt x="34" y="38"/>
                    <a:pt x="38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9" name="Freeform 52">
              <a:extLst>
                <a:ext uri="{FF2B5EF4-FFF2-40B4-BE49-F238E27FC236}">
                  <a16:creationId xmlns:a16="http://schemas.microsoft.com/office/drawing/2014/main" id="{E8CCEA68-226A-4804-9976-46EBE129DA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5276" y="1256002"/>
              <a:ext cx="38849" cy="36614"/>
            </a:xfrm>
            <a:custGeom>
              <a:avLst/>
              <a:gdLst>
                <a:gd name="T0" fmla="*/ 38 w 43"/>
                <a:gd name="T1" fmla="*/ 29 h 42"/>
                <a:gd name="T2" fmla="*/ 29 w 43"/>
                <a:gd name="T3" fmla="*/ 4 h 42"/>
                <a:gd name="T4" fmla="*/ 4 w 43"/>
                <a:gd name="T5" fmla="*/ 13 h 42"/>
                <a:gd name="T6" fmla="*/ 14 w 43"/>
                <a:gd name="T7" fmla="*/ 38 h 42"/>
                <a:gd name="T8" fmla="*/ 38 w 43"/>
                <a:gd name="T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38" y="29"/>
                  </a:moveTo>
                  <a:cubicBezTo>
                    <a:pt x="43" y="19"/>
                    <a:pt x="38" y="8"/>
                    <a:pt x="29" y="4"/>
                  </a:cubicBezTo>
                  <a:cubicBezTo>
                    <a:pt x="20" y="0"/>
                    <a:pt x="9" y="4"/>
                    <a:pt x="4" y="13"/>
                  </a:cubicBezTo>
                  <a:cubicBezTo>
                    <a:pt x="0" y="23"/>
                    <a:pt x="4" y="34"/>
                    <a:pt x="14" y="38"/>
                  </a:cubicBezTo>
                  <a:cubicBezTo>
                    <a:pt x="23" y="42"/>
                    <a:pt x="34" y="38"/>
                    <a:pt x="38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0" name="Freeform 53">
              <a:extLst>
                <a:ext uri="{FF2B5EF4-FFF2-40B4-BE49-F238E27FC236}">
                  <a16:creationId xmlns:a16="http://schemas.microsoft.com/office/drawing/2014/main" id="{6F7EABA7-8B20-497A-994D-D1039F2B2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0181" y="1231132"/>
              <a:ext cx="37436" cy="37305"/>
            </a:xfrm>
            <a:custGeom>
              <a:avLst/>
              <a:gdLst>
                <a:gd name="T0" fmla="*/ 38 w 42"/>
                <a:gd name="T1" fmla="*/ 29 h 43"/>
                <a:gd name="T2" fmla="*/ 28 w 42"/>
                <a:gd name="T3" fmla="*/ 5 h 43"/>
                <a:gd name="T4" fmla="*/ 4 w 42"/>
                <a:gd name="T5" fmla="*/ 14 h 43"/>
                <a:gd name="T6" fmla="*/ 13 w 42"/>
                <a:gd name="T7" fmla="*/ 39 h 43"/>
                <a:gd name="T8" fmla="*/ 38 w 42"/>
                <a:gd name="T9" fmla="*/ 2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3">
                  <a:moveTo>
                    <a:pt x="38" y="29"/>
                  </a:moveTo>
                  <a:cubicBezTo>
                    <a:pt x="42" y="20"/>
                    <a:pt x="38" y="9"/>
                    <a:pt x="28" y="5"/>
                  </a:cubicBezTo>
                  <a:cubicBezTo>
                    <a:pt x="19" y="0"/>
                    <a:pt x="8" y="4"/>
                    <a:pt x="4" y="14"/>
                  </a:cubicBezTo>
                  <a:cubicBezTo>
                    <a:pt x="0" y="23"/>
                    <a:pt x="4" y="34"/>
                    <a:pt x="13" y="39"/>
                  </a:cubicBezTo>
                  <a:cubicBezTo>
                    <a:pt x="22" y="43"/>
                    <a:pt x="33" y="39"/>
                    <a:pt x="38" y="2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1" name="Freeform 54">
              <a:extLst>
                <a:ext uri="{FF2B5EF4-FFF2-40B4-BE49-F238E27FC236}">
                  <a16:creationId xmlns:a16="http://schemas.microsoft.com/office/drawing/2014/main" id="{5CAB799B-0465-498B-A432-E23525C78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0267" y="1872908"/>
              <a:ext cx="33905" cy="31778"/>
            </a:xfrm>
            <a:custGeom>
              <a:avLst/>
              <a:gdLst>
                <a:gd name="T0" fmla="*/ 38 w 38"/>
                <a:gd name="T1" fmla="*/ 19 h 37"/>
                <a:gd name="T2" fmla="*/ 19 w 38"/>
                <a:gd name="T3" fmla="*/ 0 h 37"/>
                <a:gd name="T4" fmla="*/ 0 w 38"/>
                <a:gd name="T5" fmla="*/ 19 h 37"/>
                <a:gd name="T6" fmla="*/ 19 w 38"/>
                <a:gd name="T7" fmla="*/ 37 h 37"/>
                <a:gd name="T8" fmla="*/ 38 w 38"/>
                <a:gd name="T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7">
                  <a:moveTo>
                    <a:pt x="38" y="19"/>
                  </a:moveTo>
                  <a:cubicBezTo>
                    <a:pt x="38" y="8"/>
                    <a:pt x="29" y="0"/>
                    <a:pt x="19" y="0"/>
                  </a:cubicBezTo>
                  <a:cubicBezTo>
                    <a:pt x="9" y="0"/>
                    <a:pt x="0" y="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9" y="37"/>
                    <a:pt x="38" y="29"/>
                    <a:pt x="38" y="1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2" name="Oval 55">
              <a:extLst>
                <a:ext uri="{FF2B5EF4-FFF2-40B4-BE49-F238E27FC236}">
                  <a16:creationId xmlns:a16="http://schemas.microsoft.com/office/drawing/2014/main" id="{1DA92F47-C529-4BE5-B2E2-84BF23B6E8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9521" y="1872908"/>
              <a:ext cx="33198" cy="32469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3" name="Oval 56">
              <a:extLst>
                <a:ext uri="{FF2B5EF4-FFF2-40B4-BE49-F238E27FC236}">
                  <a16:creationId xmlns:a16="http://schemas.microsoft.com/office/drawing/2014/main" id="{5BD4FCF6-3604-421C-AD31-A5B50A173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8069" y="1873599"/>
              <a:ext cx="33198" cy="31778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4" name="Freeform 57">
              <a:extLst>
                <a:ext uri="{FF2B5EF4-FFF2-40B4-BE49-F238E27FC236}">
                  <a16:creationId xmlns:a16="http://schemas.microsoft.com/office/drawing/2014/main" id="{51390721-C1A7-4301-A8FD-CBCECB519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6617" y="1873599"/>
              <a:ext cx="33905" cy="31778"/>
            </a:xfrm>
            <a:custGeom>
              <a:avLst/>
              <a:gdLst>
                <a:gd name="T0" fmla="*/ 38 w 38"/>
                <a:gd name="T1" fmla="*/ 18 h 37"/>
                <a:gd name="T2" fmla="*/ 19 w 38"/>
                <a:gd name="T3" fmla="*/ 0 h 37"/>
                <a:gd name="T4" fmla="*/ 0 w 38"/>
                <a:gd name="T5" fmla="*/ 19 h 37"/>
                <a:gd name="T6" fmla="*/ 19 w 38"/>
                <a:gd name="T7" fmla="*/ 37 h 37"/>
                <a:gd name="T8" fmla="*/ 38 w 38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7">
                  <a:moveTo>
                    <a:pt x="38" y="18"/>
                  </a:moveTo>
                  <a:cubicBezTo>
                    <a:pt x="38" y="8"/>
                    <a:pt x="29" y="0"/>
                    <a:pt x="19" y="0"/>
                  </a:cubicBezTo>
                  <a:cubicBezTo>
                    <a:pt x="9" y="0"/>
                    <a:pt x="0" y="8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9" y="37"/>
                    <a:pt x="38" y="29"/>
                    <a:pt x="38" y="18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5" name="Freeform 58">
              <a:extLst>
                <a:ext uri="{FF2B5EF4-FFF2-40B4-BE49-F238E27FC236}">
                  <a16:creationId xmlns:a16="http://schemas.microsoft.com/office/drawing/2014/main" id="{FF801A05-A298-4F61-8624-D776B9325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6578" y="1873599"/>
              <a:ext cx="32492" cy="31778"/>
            </a:xfrm>
            <a:custGeom>
              <a:avLst/>
              <a:gdLst>
                <a:gd name="T0" fmla="*/ 37 w 37"/>
                <a:gd name="T1" fmla="*/ 19 h 37"/>
                <a:gd name="T2" fmla="*/ 18 w 37"/>
                <a:gd name="T3" fmla="*/ 0 h 37"/>
                <a:gd name="T4" fmla="*/ 0 w 37"/>
                <a:gd name="T5" fmla="*/ 19 h 37"/>
                <a:gd name="T6" fmla="*/ 18 w 37"/>
                <a:gd name="T7" fmla="*/ 37 h 37"/>
                <a:gd name="T8" fmla="*/ 37 w 37"/>
                <a:gd name="T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19"/>
                  </a:moveTo>
                  <a:cubicBezTo>
                    <a:pt x="37" y="8"/>
                    <a:pt x="29" y="0"/>
                    <a:pt x="18" y="0"/>
                  </a:cubicBezTo>
                  <a:cubicBezTo>
                    <a:pt x="8" y="0"/>
                    <a:pt x="0" y="9"/>
                    <a:pt x="0" y="19"/>
                  </a:cubicBezTo>
                  <a:cubicBezTo>
                    <a:pt x="0" y="29"/>
                    <a:pt x="8" y="37"/>
                    <a:pt x="18" y="37"/>
                  </a:cubicBezTo>
                  <a:cubicBezTo>
                    <a:pt x="29" y="37"/>
                    <a:pt x="37" y="29"/>
                    <a:pt x="37" y="1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6" name="Oval 59">
              <a:extLst>
                <a:ext uri="{FF2B5EF4-FFF2-40B4-BE49-F238E27FC236}">
                  <a16:creationId xmlns:a16="http://schemas.microsoft.com/office/drawing/2014/main" id="{4DDFB9E4-88C7-4BC6-9F43-1EFF0B1F15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5126" y="1873599"/>
              <a:ext cx="32492" cy="33160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7" name="Freeform 60">
              <a:extLst>
                <a:ext uri="{FF2B5EF4-FFF2-40B4-BE49-F238E27FC236}">
                  <a16:creationId xmlns:a16="http://schemas.microsoft.com/office/drawing/2014/main" id="{605C97BA-04CD-491C-B9E0-0526BC5A9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3674" y="1874290"/>
              <a:ext cx="33198" cy="32469"/>
            </a:xfrm>
            <a:custGeom>
              <a:avLst/>
              <a:gdLst>
                <a:gd name="T0" fmla="*/ 38 w 38"/>
                <a:gd name="T1" fmla="*/ 18 h 37"/>
                <a:gd name="T2" fmla="*/ 19 w 38"/>
                <a:gd name="T3" fmla="*/ 0 h 37"/>
                <a:gd name="T4" fmla="*/ 0 w 38"/>
                <a:gd name="T5" fmla="*/ 18 h 37"/>
                <a:gd name="T6" fmla="*/ 19 w 38"/>
                <a:gd name="T7" fmla="*/ 37 h 37"/>
                <a:gd name="T8" fmla="*/ 38 w 38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7">
                  <a:moveTo>
                    <a:pt x="38" y="18"/>
                  </a:moveTo>
                  <a:cubicBezTo>
                    <a:pt x="38" y="8"/>
                    <a:pt x="29" y="0"/>
                    <a:pt x="19" y="0"/>
                  </a:cubicBezTo>
                  <a:cubicBezTo>
                    <a:pt x="9" y="0"/>
                    <a:pt x="0" y="8"/>
                    <a:pt x="0" y="18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9" y="37"/>
                    <a:pt x="38" y="28"/>
                    <a:pt x="38" y="18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8" name="Freeform 61">
              <a:extLst>
                <a:ext uri="{FF2B5EF4-FFF2-40B4-BE49-F238E27FC236}">
                  <a16:creationId xmlns:a16="http://schemas.microsoft.com/office/drawing/2014/main" id="{F0A99DD8-241D-48AB-93FF-E2ABA4C4A6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2928" y="1874290"/>
              <a:ext cx="32492" cy="32469"/>
            </a:xfrm>
            <a:custGeom>
              <a:avLst/>
              <a:gdLst>
                <a:gd name="T0" fmla="*/ 37 w 37"/>
                <a:gd name="T1" fmla="*/ 18 h 37"/>
                <a:gd name="T2" fmla="*/ 18 w 37"/>
                <a:gd name="T3" fmla="*/ 0 h 37"/>
                <a:gd name="T4" fmla="*/ 0 w 37"/>
                <a:gd name="T5" fmla="*/ 19 h 37"/>
                <a:gd name="T6" fmla="*/ 18 w 37"/>
                <a:gd name="T7" fmla="*/ 37 h 37"/>
                <a:gd name="T8" fmla="*/ 37 w 37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7" y="18"/>
                  </a:moveTo>
                  <a:cubicBezTo>
                    <a:pt x="37" y="8"/>
                    <a:pt x="29" y="0"/>
                    <a:pt x="18" y="0"/>
                  </a:cubicBezTo>
                  <a:cubicBezTo>
                    <a:pt x="8" y="0"/>
                    <a:pt x="0" y="8"/>
                    <a:pt x="0" y="19"/>
                  </a:cubicBezTo>
                  <a:cubicBezTo>
                    <a:pt x="0" y="29"/>
                    <a:pt x="8" y="37"/>
                    <a:pt x="18" y="37"/>
                  </a:cubicBezTo>
                  <a:cubicBezTo>
                    <a:pt x="29" y="37"/>
                    <a:pt x="37" y="29"/>
                    <a:pt x="37" y="18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9" name="Oval 62">
              <a:extLst>
                <a:ext uri="{FF2B5EF4-FFF2-40B4-BE49-F238E27FC236}">
                  <a16:creationId xmlns:a16="http://schemas.microsoft.com/office/drawing/2014/main" id="{5203AA4E-CADB-416A-B0E4-2FF32D6578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1476" y="1874290"/>
              <a:ext cx="32492" cy="32469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A475B9EF-E026-4835-A87F-328C3AA7C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442" y="2362702"/>
              <a:ext cx="37436" cy="36614"/>
            </a:xfrm>
            <a:custGeom>
              <a:avLst/>
              <a:gdLst>
                <a:gd name="T0" fmla="*/ 37 w 42"/>
                <a:gd name="T1" fmla="*/ 12 h 42"/>
                <a:gd name="T2" fmla="*/ 12 w 42"/>
                <a:gd name="T3" fmla="*/ 4 h 42"/>
                <a:gd name="T4" fmla="*/ 4 w 42"/>
                <a:gd name="T5" fmla="*/ 30 h 42"/>
                <a:gd name="T6" fmla="*/ 30 w 42"/>
                <a:gd name="T7" fmla="*/ 37 h 42"/>
                <a:gd name="T8" fmla="*/ 37 w 42"/>
                <a:gd name="T9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2">
                  <a:moveTo>
                    <a:pt x="37" y="12"/>
                  </a:moveTo>
                  <a:cubicBezTo>
                    <a:pt x="33" y="3"/>
                    <a:pt x="21" y="0"/>
                    <a:pt x="12" y="4"/>
                  </a:cubicBezTo>
                  <a:cubicBezTo>
                    <a:pt x="3" y="9"/>
                    <a:pt x="0" y="21"/>
                    <a:pt x="4" y="30"/>
                  </a:cubicBezTo>
                  <a:cubicBezTo>
                    <a:pt x="9" y="39"/>
                    <a:pt x="21" y="42"/>
                    <a:pt x="30" y="37"/>
                  </a:cubicBezTo>
                  <a:cubicBezTo>
                    <a:pt x="39" y="32"/>
                    <a:pt x="42" y="21"/>
                    <a:pt x="37" y="12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05085FCE-6B40-4222-8EB5-9279D39D8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4053" y="2390335"/>
              <a:ext cx="38143" cy="37995"/>
            </a:xfrm>
            <a:custGeom>
              <a:avLst/>
              <a:gdLst>
                <a:gd name="T0" fmla="*/ 38 w 43"/>
                <a:gd name="T1" fmla="*/ 12 h 43"/>
                <a:gd name="T2" fmla="*/ 13 w 43"/>
                <a:gd name="T3" fmla="*/ 5 h 43"/>
                <a:gd name="T4" fmla="*/ 5 w 43"/>
                <a:gd name="T5" fmla="*/ 30 h 43"/>
                <a:gd name="T6" fmla="*/ 30 w 43"/>
                <a:gd name="T7" fmla="*/ 38 h 43"/>
                <a:gd name="T8" fmla="*/ 38 w 43"/>
                <a:gd name="T9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38" y="12"/>
                  </a:moveTo>
                  <a:cubicBezTo>
                    <a:pt x="33" y="3"/>
                    <a:pt x="22" y="0"/>
                    <a:pt x="13" y="5"/>
                  </a:cubicBezTo>
                  <a:cubicBezTo>
                    <a:pt x="4" y="10"/>
                    <a:pt x="0" y="21"/>
                    <a:pt x="5" y="30"/>
                  </a:cubicBezTo>
                  <a:cubicBezTo>
                    <a:pt x="10" y="39"/>
                    <a:pt x="21" y="43"/>
                    <a:pt x="30" y="38"/>
                  </a:cubicBezTo>
                  <a:cubicBezTo>
                    <a:pt x="39" y="33"/>
                    <a:pt x="43" y="22"/>
                    <a:pt x="38" y="12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6299D12F-1B81-4276-A92D-45E46A607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077" y="2418659"/>
              <a:ext cx="37436" cy="37305"/>
            </a:xfrm>
            <a:custGeom>
              <a:avLst/>
              <a:gdLst>
                <a:gd name="T0" fmla="*/ 37 w 42"/>
                <a:gd name="T1" fmla="*/ 13 h 43"/>
                <a:gd name="T2" fmla="*/ 12 w 42"/>
                <a:gd name="T3" fmla="*/ 5 h 43"/>
                <a:gd name="T4" fmla="*/ 4 w 42"/>
                <a:gd name="T5" fmla="*/ 30 h 43"/>
                <a:gd name="T6" fmla="*/ 30 w 42"/>
                <a:gd name="T7" fmla="*/ 38 h 43"/>
                <a:gd name="T8" fmla="*/ 37 w 42"/>
                <a:gd name="T9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3">
                  <a:moveTo>
                    <a:pt x="37" y="13"/>
                  </a:moveTo>
                  <a:cubicBezTo>
                    <a:pt x="32" y="4"/>
                    <a:pt x="21" y="0"/>
                    <a:pt x="12" y="5"/>
                  </a:cubicBezTo>
                  <a:cubicBezTo>
                    <a:pt x="3" y="10"/>
                    <a:pt x="0" y="21"/>
                    <a:pt x="4" y="30"/>
                  </a:cubicBezTo>
                  <a:cubicBezTo>
                    <a:pt x="9" y="39"/>
                    <a:pt x="21" y="43"/>
                    <a:pt x="30" y="38"/>
                  </a:cubicBezTo>
                  <a:cubicBezTo>
                    <a:pt x="39" y="33"/>
                    <a:pt x="42" y="22"/>
                    <a:pt x="37" y="1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E5B8BA16-A066-4B8C-8AD6-F3F742419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6689" y="2446983"/>
              <a:ext cx="38143" cy="36614"/>
            </a:xfrm>
            <a:custGeom>
              <a:avLst/>
              <a:gdLst>
                <a:gd name="T0" fmla="*/ 38 w 43"/>
                <a:gd name="T1" fmla="*/ 12 h 42"/>
                <a:gd name="T2" fmla="*/ 12 w 43"/>
                <a:gd name="T3" fmla="*/ 5 h 42"/>
                <a:gd name="T4" fmla="*/ 5 w 43"/>
                <a:gd name="T5" fmla="*/ 30 h 42"/>
                <a:gd name="T6" fmla="*/ 30 w 43"/>
                <a:gd name="T7" fmla="*/ 37 h 42"/>
                <a:gd name="T8" fmla="*/ 38 w 43"/>
                <a:gd name="T9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38" y="12"/>
                  </a:moveTo>
                  <a:cubicBezTo>
                    <a:pt x="33" y="3"/>
                    <a:pt x="22" y="0"/>
                    <a:pt x="12" y="5"/>
                  </a:cubicBezTo>
                  <a:cubicBezTo>
                    <a:pt x="3" y="9"/>
                    <a:pt x="0" y="21"/>
                    <a:pt x="5" y="30"/>
                  </a:cubicBezTo>
                  <a:cubicBezTo>
                    <a:pt x="10" y="39"/>
                    <a:pt x="21" y="42"/>
                    <a:pt x="30" y="37"/>
                  </a:cubicBezTo>
                  <a:cubicBezTo>
                    <a:pt x="39" y="33"/>
                    <a:pt x="43" y="21"/>
                    <a:pt x="38" y="12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8569BE1B-E553-4078-BCA7-DD97BB40B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2300" y="2475307"/>
              <a:ext cx="38143" cy="37305"/>
            </a:xfrm>
            <a:custGeom>
              <a:avLst/>
              <a:gdLst>
                <a:gd name="T0" fmla="*/ 38 w 43"/>
                <a:gd name="T1" fmla="*/ 13 h 43"/>
                <a:gd name="T2" fmla="*/ 13 w 43"/>
                <a:gd name="T3" fmla="*/ 5 h 43"/>
                <a:gd name="T4" fmla="*/ 5 w 43"/>
                <a:gd name="T5" fmla="*/ 30 h 43"/>
                <a:gd name="T6" fmla="*/ 30 w 43"/>
                <a:gd name="T7" fmla="*/ 38 h 43"/>
                <a:gd name="T8" fmla="*/ 38 w 43"/>
                <a:gd name="T9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38" y="13"/>
                  </a:moveTo>
                  <a:cubicBezTo>
                    <a:pt x="33" y="3"/>
                    <a:pt x="22" y="0"/>
                    <a:pt x="13" y="5"/>
                  </a:cubicBezTo>
                  <a:cubicBezTo>
                    <a:pt x="4" y="10"/>
                    <a:pt x="0" y="21"/>
                    <a:pt x="5" y="30"/>
                  </a:cubicBezTo>
                  <a:cubicBezTo>
                    <a:pt x="10" y="39"/>
                    <a:pt x="21" y="43"/>
                    <a:pt x="30" y="38"/>
                  </a:cubicBezTo>
                  <a:cubicBezTo>
                    <a:pt x="40" y="33"/>
                    <a:pt x="43" y="22"/>
                    <a:pt x="38" y="1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AEA70ADA-614A-44B0-ABBA-D30967880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8618" y="2502940"/>
              <a:ext cx="37436" cy="37305"/>
            </a:xfrm>
            <a:custGeom>
              <a:avLst/>
              <a:gdLst>
                <a:gd name="T0" fmla="*/ 38 w 42"/>
                <a:gd name="T1" fmla="*/ 13 h 43"/>
                <a:gd name="T2" fmla="*/ 12 w 42"/>
                <a:gd name="T3" fmla="*/ 5 h 43"/>
                <a:gd name="T4" fmla="*/ 5 w 42"/>
                <a:gd name="T5" fmla="*/ 31 h 43"/>
                <a:gd name="T6" fmla="*/ 30 w 42"/>
                <a:gd name="T7" fmla="*/ 38 h 43"/>
                <a:gd name="T8" fmla="*/ 38 w 42"/>
                <a:gd name="T9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3">
                  <a:moveTo>
                    <a:pt x="38" y="13"/>
                  </a:moveTo>
                  <a:cubicBezTo>
                    <a:pt x="33" y="4"/>
                    <a:pt x="21" y="0"/>
                    <a:pt x="12" y="5"/>
                  </a:cubicBezTo>
                  <a:cubicBezTo>
                    <a:pt x="3" y="10"/>
                    <a:pt x="0" y="21"/>
                    <a:pt x="5" y="31"/>
                  </a:cubicBezTo>
                  <a:cubicBezTo>
                    <a:pt x="10" y="40"/>
                    <a:pt x="21" y="43"/>
                    <a:pt x="30" y="38"/>
                  </a:cubicBezTo>
                  <a:cubicBezTo>
                    <a:pt x="39" y="33"/>
                    <a:pt x="42" y="22"/>
                    <a:pt x="38" y="1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9D5B576C-E087-47F9-B31F-BB386FEA5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229" y="2531954"/>
              <a:ext cx="38143" cy="35923"/>
            </a:xfrm>
            <a:custGeom>
              <a:avLst/>
              <a:gdLst>
                <a:gd name="T0" fmla="*/ 38 w 43"/>
                <a:gd name="T1" fmla="*/ 12 h 42"/>
                <a:gd name="T2" fmla="*/ 13 w 43"/>
                <a:gd name="T3" fmla="*/ 5 h 42"/>
                <a:gd name="T4" fmla="*/ 5 w 43"/>
                <a:gd name="T5" fmla="*/ 30 h 42"/>
                <a:gd name="T6" fmla="*/ 30 w 43"/>
                <a:gd name="T7" fmla="*/ 38 h 42"/>
                <a:gd name="T8" fmla="*/ 38 w 43"/>
                <a:gd name="T9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38" y="12"/>
                  </a:moveTo>
                  <a:cubicBezTo>
                    <a:pt x="33" y="3"/>
                    <a:pt x="22" y="0"/>
                    <a:pt x="13" y="5"/>
                  </a:cubicBezTo>
                  <a:cubicBezTo>
                    <a:pt x="4" y="10"/>
                    <a:pt x="0" y="21"/>
                    <a:pt x="5" y="30"/>
                  </a:cubicBezTo>
                  <a:cubicBezTo>
                    <a:pt x="10" y="39"/>
                    <a:pt x="21" y="42"/>
                    <a:pt x="30" y="38"/>
                  </a:cubicBezTo>
                  <a:cubicBezTo>
                    <a:pt x="39" y="33"/>
                    <a:pt x="43" y="21"/>
                    <a:pt x="38" y="12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54A8EBA8-7DB2-4759-A391-815C9A991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253" y="2559587"/>
              <a:ext cx="36730" cy="37305"/>
            </a:xfrm>
            <a:custGeom>
              <a:avLst/>
              <a:gdLst>
                <a:gd name="T0" fmla="*/ 37 w 42"/>
                <a:gd name="T1" fmla="*/ 13 h 43"/>
                <a:gd name="T2" fmla="*/ 12 w 42"/>
                <a:gd name="T3" fmla="*/ 5 h 43"/>
                <a:gd name="T4" fmla="*/ 5 w 42"/>
                <a:gd name="T5" fmla="*/ 30 h 43"/>
                <a:gd name="T6" fmla="*/ 30 w 42"/>
                <a:gd name="T7" fmla="*/ 38 h 43"/>
                <a:gd name="T8" fmla="*/ 37 w 42"/>
                <a:gd name="T9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3">
                  <a:moveTo>
                    <a:pt x="37" y="13"/>
                  </a:moveTo>
                  <a:cubicBezTo>
                    <a:pt x="33" y="4"/>
                    <a:pt x="21" y="0"/>
                    <a:pt x="12" y="5"/>
                  </a:cubicBezTo>
                  <a:cubicBezTo>
                    <a:pt x="3" y="10"/>
                    <a:pt x="0" y="21"/>
                    <a:pt x="5" y="30"/>
                  </a:cubicBezTo>
                  <a:cubicBezTo>
                    <a:pt x="9" y="39"/>
                    <a:pt x="21" y="43"/>
                    <a:pt x="30" y="38"/>
                  </a:cubicBezTo>
                  <a:cubicBezTo>
                    <a:pt x="39" y="33"/>
                    <a:pt x="42" y="22"/>
                    <a:pt x="37" y="1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6F193D9F-6258-44B5-A6D7-8C6C32EBD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865" y="2587911"/>
              <a:ext cx="38143" cy="36614"/>
            </a:xfrm>
            <a:custGeom>
              <a:avLst/>
              <a:gdLst>
                <a:gd name="T0" fmla="*/ 38 w 43"/>
                <a:gd name="T1" fmla="*/ 12 h 42"/>
                <a:gd name="T2" fmla="*/ 13 w 43"/>
                <a:gd name="T3" fmla="*/ 4 h 42"/>
                <a:gd name="T4" fmla="*/ 5 w 43"/>
                <a:gd name="T5" fmla="*/ 30 h 42"/>
                <a:gd name="T6" fmla="*/ 30 w 43"/>
                <a:gd name="T7" fmla="*/ 37 h 42"/>
                <a:gd name="T8" fmla="*/ 38 w 43"/>
                <a:gd name="T9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38" y="12"/>
                  </a:moveTo>
                  <a:cubicBezTo>
                    <a:pt x="33" y="3"/>
                    <a:pt x="22" y="0"/>
                    <a:pt x="13" y="4"/>
                  </a:cubicBezTo>
                  <a:cubicBezTo>
                    <a:pt x="4" y="9"/>
                    <a:pt x="0" y="21"/>
                    <a:pt x="5" y="30"/>
                  </a:cubicBezTo>
                  <a:cubicBezTo>
                    <a:pt x="10" y="39"/>
                    <a:pt x="21" y="42"/>
                    <a:pt x="30" y="37"/>
                  </a:cubicBezTo>
                  <a:cubicBezTo>
                    <a:pt x="39" y="32"/>
                    <a:pt x="43" y="21"/>
                    <a:pt x="38" y="12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9" name="Freeform 72">
              <a:extLst>
                <a:ext uri="{FF2B5EF4-FFF2-40B4-BE49-F238E27FC236}">
                  <a16:creationId xmlns:a16="http://schemas.microsoft.com/office/drawing/2014/main" id="{38CA66FC-3955-412C-BBEB-BC65B21D3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5892" y="2458727"/>
              <a:ext cx="38849" cy="36614"/>
            </a:xfrm>
            <a:custGeom>
              <a:avLst/>
              <a:gdLst>
                <a:gd name="T0" fmla="*/ 31 w 43"/>
                <a:gd name="T1" fmla="*/ 6 h 42"/>
                <a:gd name="T2" fmla="*/ 6 w 43"/>
                <a:gd name="T3" fmla="*/ 11 h 42"/>
                <a:gd name="T4" fmla="*/ 11 w 43"/>
                <a:gd name="T5" fmla="*/ 37 h 42"/>
                <a:gd name="T6" fmla="*/ 37 w 43"/>
                <a:gd name="T7" fmla="*/ 31 h 42"/>
                <a:gd name="T8" fmla="*/ 31 w 43"/>
                <a:gd name="T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31" y="6"/>
                  </a:moveTo>
                  <a:cubicBezTo>
                    <a:pt x="23" y="0"/>
                    <a:pt x="11" y="3"/>
                    <a:pt x="6" y="11"/>
                  </a:cubicBezTo>
                  <a:cubicBezTo>
                    <a:pt x="0" y="20"/>
                    <a:pt x="3" y="31"/>
                    <a:pt x="11" y="37"/>
                  </a:cubicBezTo>
                  <a:cubicBezTo>
                    <a:pt x="20" y="42"/>
                    <a:pt x="32" y="40"/>
                    <a:pt x="37" y="31"/>
                  </a:cubicBezTo>
                  <a:cubicBezTo>
                    <a:pt x="43" y="23"/>
                    <a:pt x="40" y="11"/>
                    <a:pt x="31" y="6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0" name="Freeform 73">
              <a:extLst>
                <a:ext uri="{FF2B5EF4-FFF2-40B4-BE49-F238E27FC236}">
                  <a16:creationId xmlns:a16="http://schemas.microsoft.com/office/drawing/2014/main" id="{A5F08049-226A-41F2-8D93-BD81185F81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3400" y="2509157"/>
              <a:ext cx="38143" cy="36614"/>
            </a:xfrm>
            <a:custGeom>
              <a:avLst/>
              <a:gdLst>
                <a:gd name="T0" fmla="*/ 31 w 43"/>
                <a:gd name="T1" fmla="*/ 5 h 42"/>
                <a:gd name="T2" fmla="*/ 6 w 43"/>
                <a:gd name="T3" fmla="*/ 11 h 42"/>
                <a:gd name="T4" fmla="*/ 11 w 43"/>
                <a:gd name="T5" fmla="*/ 37 h 42"/>
                <a:gd name="T6" fmla="*/ 37 w 43"/>
                <a:gd name="T7" fmla="*/ 31 h 42"/>
                <a:gd name="T8" fmla="*/ 31 w 43"/>
                <a:gd name="T9" fmla="*/ 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31" y="5"/>
                  </a:moveTo>
                  <a:cubicBezTo>
                    <a:pt x="23" y="0"/>
                    <a:pt x="11" y="2"/>
                    <a:pt x="6" y="11"/>
                  </a:cubicBezTo>
                  <a:cubicBezTo>
                    <a:pt x="0" y="20"/>
                    <a:pt x="3" y="31"/>
                    <a:pt x="11" y="37"/>
                  </a:cubicBezTo>
                  <a:cubicBezTo>
                    <a:pt x="20" y="42"/>
                    <a:pt x="32" y="40"/>
                    <a:pt x="37" y="31"/>
                  </a:cubicBezTo>
                  <a:cubicBezTo>
                    <a:pt x="43" y="22"/>
                    <a:pt x="40" y="11"/>
                    <a:pt x="31" y="5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1" name="Freeform 74">
              <a:extLst>
                <a:ext uri="{FF2B5EF4-FFF2-40B4-BE49-F238E27FC236}">
                  <a16:creationId xmlns:a16="http://schemas.microsoft.com/office/drawing/2014/main" id="{DB41FD6A-935A-488F-B5E2-860CAC725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0202" y="2559587"/>
              <a:ext cx="38143" cy="36614"/>
            </a:xfrm>
            <a:custGeom>
              <a:avLst/>
              <a:gdLst>
                <a:gd name="T0" fmla="*/ 32 w 43"/>
                <a:gd name="T1" fmla="*/ 5 h 42"/>
                <a:gd name="T2" fmla="*/ 6 w 43"/>
                <a:gd name="T3" fmla="*/ 11 h 42"/>
                <a:gd name="T4" fmla="*/ 11 w 43"/>
                <a:gd name="T5" fmla="*/ 37 h 42"/>
                <a:gd name="T6" fmla="*/ 37 w 43"/>
                <a:gd name="T7" fmla="*/ 31 h 42"/>
                <a:gd name="T8" fmla="*/ 32 w 43"/>
                <a:gd name="T9" fmla="*/ 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32" y="5"/>
                  </a:moveTo>
                  <a:cubicBezTo>
                    <a:pt x="23" y="0"/>
                    <a:pt x="11" y="2"/>
                    <a:pt x="6" y="11"/>
                  </a:cubicBezTo>
                  <a:cubicBezTo>
                    <a:pt x="0" y="20"/>
                    <a:pt x="3" y="31"/>
                    <a:pt x="11" y="37"/>
                  </a:cubicBezTo>
                  <a:cubicBezTo>
                    <a:pt x="20" y="42"/>
                    <a:pt x="32" y="40"/>
                    <a:pt x="37" y="31"/>
                  </a:cubicBezTo>
                  <a:cubicBezTo>
                    <a:pt x="43" y="22"/>
                    <a:pt x="40" y="11"/>
                    <a:pt x="32" y="5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2" name="Freeform 75">
              <a:extLst>
                <a:ext uri="{FF2B5EF4-FFF2-40B4-BE49-F238E27FC236}">
                  <a16:creationId xmlns:a16="http://schemas.microsoft.com/office/drawing/2014/main" id="{5889E6E4-6097-4605-8252-EAC024308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7710" y="2610017"/>
              <a:ext cx="38143" cy="36614"/>
            </a:xfrm>
            <a:custGeom>
              <a:avLst/>
              <a:gdLst>
                <a:gd name="T0" fmla="*/ 32 w 43"/>
                <a:gd name="T1" fmla="*/ 5 h 42"/>
                <a:gd name="T2" fmla="*/ 6 w 43"/>
                <a:gd name="T3" fmla="*/ 11 h 42"/>
                <a:gd name="T4" fmla="*/ 12 w 43"/>
                <a:gd name="T5" fmla="*/ 37 h 42"/>
                <a:gd name="T6" fmla="*/ 37 w 43"/>
                <a:gd name="T7" fmla="*/ 31 h 42"/>
                <a:gd name="T8" fmla="*/ 32 w 43"/>
                <a:gd name="T9" fmla="*/ 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32" y="5"/>
                  </a:moveTo>
                  <a:cubicBezTo>
                    <a:pt x="23" y="0"/>
                    <a:pt x="11" y="2"/>
                    <a:pt x="6" y="11"/>
                  </a:cubicBezTo>
                  <a:cubicBezTo>
                    <a:pt x="0" y="20"/>
                    <a:pt x="3" y="31"/>
                    <a:pt x="12" y="37"/>
                  </a:cubicBezTo>
                  <a:cubicBezTo>
                    <a:pt x="20" y="42"/>
                    <a:pt x="32" y="40"/>
                    <a:pt x="37" y="31"/>
                  </a:cubicBezTo>
                  <a:cubicBezTo>
                    <a:pt x="43" y="22"/>
                    <a:pt x="40" y="11"/>
                    <a:pt x="32" y="5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3" name="Freeform 76">
              <a:extLst>
                <a:ext uri="{FF2B5EF4-FFF2-40B4-BE49-F238E27FC236}">
                  <a16:creationId xmlns:a16="http://schemas.microsoft.com/office/drawing/2014/main" id="{0B019D2F-A667-4880-94B3-D6F2EAE8D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4512" y="2660448"/>
              <a:ext cx="38143" cy="36614"/>
            </a:xfrm>
            <a:custGeom>
              <a:avLst/>
              <a:gdLst>
                <a:gd name="T0" fmla="*/ 32 w 43"/>
                <a:gd name="T1" fmla="*/ 5 h 42"/>
                <a:gd name="T2" fmla="*/ 6 w 43"/>
                <a:gd name="T3" fmla="*/ 11 h 42"/>
                <a:gd name="T4" fmla="*/ 12 w 43"/>
                <a:gd name="T5" fmla="*/ 37 h 42"/>
                <a:gd name="T6" fmla="*/ 37 w 43"/>
                <a:gd name="T7" fmla="*/ 31 h 42"/>
                <a:gd name="T8" fmla="*/ 32 w 43"/>
                <a:gd name="T9" fmla="*/ 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32" y="5"/>
                  </a:moveTo>
                  <a:cubicBezTo>
                    <a:pt x="23" y="0"/>
                    <a:pt x="11" y="2"/>
                    <a:pt x="6" y="11"/>
                  </a:cubicBezTo>
                  <a:cubicBezTo>
                    <a:pt x="0" y="19"/>
                    <a:pt x="3" y="31"/>
                    <a:pt x="12" y="37"/>
                  </a:cubicBezTo>
                  <a:cubicBezTo>
                    <a:pt x="20" y="42"/>
                    <a:pt x="32" y="39"/>
                    <a:pt x="37" y="31"/>
                  </a:cubicBezTo>
                  <a:cubicBezTo>
                    <a:pt x="43" y="22"/>
                    <a:pt x="40" y="11"/>
                    <a:pt x="32" y="5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4" name="Freeform 77">
              <a:extLst>
                <a:ext uri="{FF2B5EF4-FFF2-40B4-BE49-F238E27FC236}">
                  <a16:creationId xmlns:a16="http://schemas.microsoft.com/office/drawing/2014/main" id="{9D117B32-069E-48DC-A4C0-C58FECFAC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1314" y="2710187"/>
              <a:ext cx="38143" cy="37305"/>
            </a:xfrm>
            <a:custGeom>
              <a:avLst/>
              <a:gdLst>
                <a:gd name="T0" fmla="*/ 32 w 43"/>
                <a:gd name="T1" fmla="*/ 6 h 43"/>
                <a:gd name="T2" fmla="*/ 6 w 43"/>
                <a:gd name="T3" fmla="*/ 12 h 43"/>
                <a:gd name="T4" fmla="*/ 12 w 43"/>
                <a:gd name="T5" fmla="*/ 37 h 43"/>
                <a:gd name="T6" fmla="*/ 37 w 43"/>
                <a:gd name="T7" fmla="*/ 32 h 43"/>
                <a:gd name="T8" fmla="*/ 32 w 43"/>
                <a:gd name="T9" fmla="*/ 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32" y="6"/>
                  </a:moveTo>
                  <a:cubicBezTo>
                    <a:pt x="23" y="0"/>
                    <a:pt x="12" y="3"/>
                    <a:pt x="6" y="12"/>
                  </a:cubicBezTo>
                  <a:cubicBezTo>
                    <a:pt x="0" y="20"/>
                    <a:pt x="3" y="32"/>
                    <a:pt x="12" y="37"/>
                  </a:cubicBezTo>
                  <a:cubicBezTo>
                    <a:pt x="20" y="43"/>
                    <a:pt x="32" y="40"/>
                    <a:pt x="37" y="32"/>
                  </a:cubicBezTo>
                  <a:cubicBezTo>
                    <a:pt x="43" y="23"/>
                    <a:pt x="40" y="12"/>
                    <a:pt x="32" y="6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5" name="Freeform 78">
              <a:extLst>
                <a:ext uri="{FF2B5EF4-FFF2-40B4-BE49-F238E27FC236}">
                  <a16:creationId xmlns:a16="http://schemas.microsoft.com/office/drawing/2014/main" id="{863AF90D-95A1-4042-848C-B6CB836F3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9528" y="2760617"/>
              <a:ext cx="37436" cy="37305"/>
            </a:xfrm>
            <a:custGeom>
              <a:avLst/>
              <a:gdLst>
                <a:gd name="T0" fmla="*/ 31 w 42"/>
                <a:gd name="T1" fmla="*/ 6 h 43"/>
                <a:gd name="T2" fmla="*/ 5 w 42"/>
                <a:gd name="T3" fmla="*/ 12 h 43"/>
                <a:gd name="T4" fmla="*/ 11 w 42"/>
                <a:gd name="T5" fmla="*/ 37 h 43"/>
                <a:gd name="T6" fmla="*/ 37 w 42"/>
                <a:gd name="T7" fmla="*/ 32 h 43"/>
                <a:gd name="T8" fmla="*/ 31 w 42"/>
                <a:gd name="T9" fmla="*/ 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3">
                  <a:moveTo>
                    <a:pt x="31" y="6"/>
                  </a:moveTo>
                  <a:cubicBezTo>
                    <a:pt x="22" y="0"/>
                    <a:pt x="11" y="3"/>
                    <a:pt x="5" y="12"/>
                  </a:cubicBezTo>
                  <a:cubicBezTo>
                    <a:pt x="0" y="20"/>
                    <a:pt x="2" y="32"/>
                    <a:pt x="11" y="37"/>
                  </a:cubicBezTo>
                  <a:cubicBezTo>
                    <a:pt x="19" y="43"/>
                    <a:pt x="31" y="40"/>
                    <a:pt x="37" y="32"/>
                  </a:cubicBezTo>
                  <a:cubicBezTo>
                    <a:pt x="42" y="23"/>
                    <a:pt x="40" y="11"/>
                    <a:pt x="31" y="6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6" name="Freeform 79">
              <a:extLst>
                <a:ext uri="{FF2B5EF4-FFF2-40B4-BE49-F238E27FC236}">
                  <a16:creationId xmlns:a16="http://schemas.microsoft.com/office/drawing/2014/main" id="{3EA1FA47-49F9-49F0-87BE-B28F9E228C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9516" y="2577549"/>
              <a:ext cx="35317" cy="35232"/>
            </a:xfrm>
            <a:custGeom>
              <a:avLst/>
              <a:gdLst>
                <a:gd name="T0" fmla="*/ 22 w 40"/>
                <a:gd name="T1" fmla="*/ 1 h 40"/>
                <a:gd name="T2" fmla="*/ 1 w 40"/>
                <a:gd name="T3" fmla="*/ 17 h 40"/>
                <a:gd name="T4" fmla="*/ 17 w 40"/>
                <a:gd name="T5" fmla="*/ 38 h 40"/>
                <a:gd name="T6" fmla="*/ 38 w 40"/>
                <a:gd name="T7" fmla="*/ 22 h 40"/>
                <a:gd name="T8" fmla="*/ 22 w 40"/>
                <a:gd name="T9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0">
                  <a:moveTo>
                    <a:pt x="22" y="1"/>
                  </a:moveTo>
                  <a:cubicBezTo>
                    <a:pt x="12" y="0"/>
                    <a:pt x="3" y="7"/>
                    <a:pt x="1" y="17"/>
                  </a:cubicBezTo>
                  <a:cubicBezTo>
                    <a:pt x="0" y="27"/>
                    <a:pt x="7" y="36"/>
                    <a:pt x="17" y="38"/>
                  </a:cubicBezTo>
                  <a:cubicBezTo>
                    <a:pt x="27" y="40"/>
                    <a:pt x="37" y="32"/>
                    <a:pt x="38" y="22"/>
                  </a:cubicBezTo>
                  <a:cubicBezTo>
                    <a:pt x="40" y="12"/>
                    <a:pt x="33" y="3"/>
                    <a:pt x="22" y="1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7" name="Freeform 80">
              <a:extLst>
                <a:ext uri="{FF2B5EF4-FFF2-40B4-BE49-F238E27FC236}">
                  <a16:creationId xmlns:a16="http://schemas.microsoft.com/office/drawing/2014/main" id="{9F9E75D7-49AE-492B-8D9F-FCEE04AC6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0334" y="2636960"/>
              <a:ext cx="36024" cy="33850"/>
            </a:xfrm>
            <a:custGeom>
              <a:avLst/>
              <a:gdLst>
                <a:gd name="T0" fmla="*/ 22 w 40"/>
                <a:gd name="T1" fmla="*/ 1 h 39"/>
                <a:gd name="T2" fmla="*/ 1 w 40"/>
                <a:gd name="T3" fmla="*/ 17 h 39"/>
                <a:gd name="T4" fmla="*/ 17 w 40"/>
                <a:gd name="T5" fmla="*/ 38 h 39"/>
                <a:gd name="T6" fmla="*/ 38 w 40"/>
                <a:gd name="T7" fmla="*/ 22 h 39"/>
                <a:gd name="T8" fmla="*/ 22 w 40"/>
                <a:gd name="T9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9">
                  <a:moveTo>
                    <a:pt x="22" y="1"/>
                  </a:moveTo>
                  <a:cubicBezTo>
                    <a:pt x="12" y="0"/>
                    <a:pt x="3" y="7"/>
                    <a:pt x="1" y="17"/>
                  </a:cubicBezTo>
                  <a:cubicBezTo>
                    <a:pt x="0" y="27"/>
                    <a:pt x="7" y="36"/>
                    <a:pt x="17" y="38"/>
                  </a:cubicBezTo>
                  <a:cubicBezTo>
                    <a:pt x="27" y="39"/>
                    <a:pt x="37" y="32"/>
                    <a:pt x="38" y="22"/>
                  </a:cubicBezTo>
                  <a:cubicBezTo>
                    <a:pt x="40" y="12"/>
                    <a:pt x="33" y="3"/>
                    <a:pt x="22" y="1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8" name="Freeform 81">
              <a:extLst>
                <a:ext uri="{FF2B5EF4-FFF2-40B4-BE49-F238E27FC236}">
                  <a16:creationId xmlns:a16="http://schemas.microsoft.com/office/drawing/2014/main" id="{4918C726-A0CA-413D-83E7-D09B9857D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858" y="2694989"/>
              <a:ext cx="35317" cy="35232"/>
            </a:xfrm>
            <a:custGeom>
              <a:avLst/>
              <a:gdLst>
                <a:gd name="T0" fmla="*/ 22 w 40"/>
                <a:gd name="T1" fmla="*/ 2 h 40"/>
                <a:gd name="T2" fmla="*/ 1 w 40"/>
                <a:gd name="T3" fmla="*/ 18 h 40"/>
                <a:gd name="T4" fmla="*/ 17 w 40"/>
                <a:gd name="T5" fmla="*/ 39 h 40"/>
                <a:gd name="T6" fmla="*/ 38 w 40"/>
                <a:gd name="T7" fmla="*/ 23 h 40"/>
                <a:gd name="T8" fmla="*/ 22 w 40"/>
                <a:gd name="T9" fmla="*/ 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0">
                  <a:moveTo>
                    <a:pt x="22" y="2"/>
                  </a:moveTo>
                  <a:cubicBezTo>
                    <a:pt x="12" y="0"/>
                    <a:pt x="3" y="7"/>
                    <a:pt x="1" y="18"/>
                  </a:cubicBezTo>
                  <a:cubicBezTo>
                    <a:pt x="0" y="28"/>
                    <a:pt x="7" y="37"/>
                    <a:pt x="17" y="39"/>
                  </a:cubicBezTo>
                  <a:cubicBezTo>
                    <a:pt x="27" y="40"/>
                    <a:pt x="36" y="33"/>
                    <a:pt x="38" y="23"/>
                  </a:cubicBezTo>
                  <a:cubicBezTo>
                    <a:pt x="40" y="13"/>
                    <a:pt x="32" y="3"/>
                    <a:pt x="22" y="2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9" name="Freeform 82">
              <a:extLst>
                <a:ext uri="{FF2B5EF4-FFF2-40B4-BE49-F238E27FC236}">
                  <a16:creationId xmlns:a16="http://schemas.microsoft.com/office/drawing/2014/main" id="{C9EDF151-E10B-49E0-BC95-A8E88B2DD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7196" y="2452509"/>
              <a:ext cx="37436" cy="36614"/>
            </a:xfrm>
            <a:custGeom>
              <a:avLst/>
              <a:gdLst>
                <a:gd name="T0" fmla="*/ 16 w 42"/>
                <a:gd name="T1" fmla="*/ 3 h 42"/>
                <a:gd name="T2" fmla="*/ 3 w 42"/>
                <a:gd name="T3" fmla="*/ 26 h 42"/>
                <a:gd name="T4" fmla="*/ 27 w 42"/>
                <a:gd name="T5" fmla="*/ 39 h 42"/>
                <a:gd name="T6" fmla="*/ 39 w 42"/>
                <a:gd name="T7" fmla="*/ 15 h 42"/>
                <a:gd name="T8" fmla="*/ 16 w 42"/>
                <a:gd name="T9" fmla="*/ 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2">
                  <a:moveTo>
                    <a:pt x="16" y="3"/>
                  </a:moveTo>
                  <a:cubicBezTo>
                    <a:pt x="6" y="6"/>
                    <a:pt x="0" y="17"/>
                    <a:pt x="3" y="26"/>
                  </a:cubicBezTo>
                  <a:cubicBezTo>
                    <a:pt x="7" y="36"/>
                    <a:pt x="17" y="42"/>
                    <a:pt x="27" y="39"/>
                  </a:cubicBezTo>
                  <a:cubicBezTo>
                    <a:pt x="37" y="35"/>
                    <a:pt x="42" y="25"/>
                    <a:pt x="39" y="15"/>
                  </a:cubicBezTo>
                  <a:cubicBezTo>
                    <a:pt x="36" y="5"/>
                    <a:pt x="25" y="0"/>
                    <a:pt x="16" y="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0" name="Freeform 83">
              <a:extLst>
                <a:ext uri="{FF2B5EF4-FFF2-40B4-BE49-F238E27FC236}">
                  <a16:creationId xmlns:a16="http://schemas.microsoft.com/office/drawing/2014/main" id="{135CA8B2-3BDE-444F-AA5F-56F317F40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5561" y="2509157"/>
              <a:ext cx="37436" cy="36614"/>
            </a:xfrm>
            <a:custGeom>
              <a:avLst/>
              <a:gdLst>
                <a:gd name="T0" fmla="*/ 15 w 42"/>
                <a:gd name="T1" fmla="*/ 4 h 42"/>
                <a:gd name="T2" fmla="*/ 3 w 42"/>
                <a:gd name="T3" fmla="*/ 27 h 42"/>
                <a:gd name="T4" fmla="*/ 27 w 42"/>
                <a:gd name="T5" fmla="*/ 39 h 42"/>
                <a:gd name="T6" fmla="*/ 39 w 42"/>
                <a:gd name="T7" fmla="*/ 16 h 42"/>
                <a:gd name="T8" fmla="*/ 15 w 42"/>
                <a:gd name="T9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2">
                  <a:moveTo>
                    <a:pt x="15" y="4"/>
                  </a:moveTo>
                  <a:cubicBezTo>
                    <a:pt x="5" y="7"/>
                    <a:pt x="0" y="17"/>
                    <a:pt x="3" y="27"/>
                  </a:cubicBezTo>
                  <a:cubicBezTo>
                    <a:pt x="6" y="37"/>
                    <a:pt x="17" y="42"/>
                    <a:pt x="27" y="39"/>
                  </a:cubicBezTo>
                  <a:cubicBezTo>
                    <a:pt x="36" y="36"/>
                    <a:pt x="42" y="25"/>
                    <a:pt x="39" y="16"/>
                  </a:cubicBezTo>
                  <a:cubicBezTo>
                    <a:pt x="36" y="6"/>
                    <a:pt x="25" y="0"/>
                    <a:pt x="15" y="4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1" name="Freeform 84">
              <a:extLst>
                <a:ext uri="{FF2B5EF4-FFF2-40B4-BE49-F238E27FC236}">
                  <a16:creationId xmlns:a16="http://schemas.microsoft.com/office/drawing/2014/main" id="{DE0039F5-A657-40FE-B707-C75F37FB71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632" y="2566495"/>
              <a:ext cx="36730" cy="36614"/>
            </a:xfrm>
            <a:custGeom>
              <a:avLst/>
              <a:gdLst>
                <a:gd name="T0" fmla="*/ 15 w 41"/>
                <a:gd name="T1" fmla="*/ 3 h 42"/>
                <a:gd name="T2" fmla="*/ 3 w 41"/>
                <a:gd name="T3" fmla="*/ 26 h 42"/>
                <a:gd name="T4" fmla="*/ 26 w 41"/>
                <a:gd name="T5" fmla="*/ 39 h 42"/>
                <a:gd name="T6" fmla="*/ 38 w 41"/>
                <a:gd name="T7" fmla="*/ 15 h 42"/>
                <a:gd name="T8" fmla="*/ 15 w 41"/>
                <a:gd name="T9" fmla="*/ 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2">
                  <a:moveTo>
                    <a:pt x="15" y="3"/>
                  </a:moveTo>
                  <a:cubicBezTo>
                    <a:pt x="5" y="6"/>
                    <a:pt x="0" y="17"/>
                    <a:pt x="3" y="26"/>
                  </a:cubicBezTo>
                  <a:cubicBezTo>
                    <a:pt x="6" y="36"/>
                    <a:pt x="16" y="42"/>
                    <a:pt x="26" y="39"/>
                  </a:cubicBezTo>
                  <a:cubicBezTo>
                    <a:pt x="36" y="35"/>
                    <a:pt x="41" y="25"/>
                    <a:pt x="38" y="15"/>
                  </a:cubicBezTo>
                  <a:cubicBezTo>
                    <a:pt x="35" y="5"/>
                    <a:pt x="25" y="0"/>
                    <a:pt x="15" y="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2" name="Freeform 85">
              <a:extLst>
                <a:ext uri="{FF2B5EF4-FFF2-40B4-BE49-F238E27FC236}">
                  <a16:creationId xmlns:a16="http://schemas.microsoft.com/office/drawing/2014/main" id="{040486DF-267F-4BA2-B14D-0324822BE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2291" y="2623143"/>
              <a:ext cx="37436" cy="36614"/>
            </a:xfrm>
            <a:custGeom>
              <a:avLst/>
              <a:gdLst>
                <a:gd name="T0" fmla="*/ 16 w 42"/>
                <a:gd name="T1" fmla="*/ 3 h 42"/>
                <a:gd name="T2" fmla="*/ 4 w 42"/>
                <a:gd name="T3" fmla="*/ 27 h 42"/>
                <a:gd name="T4" fmla="*/ 27 w 42"/>
                <a:gd name="T5" fmla="*/ 39 h 42"/>
                <a:gd name="T6" fmla="*/ 39 w 42"/>
                <a:gd name="T7" fmla="*/ 16 h 42"/>
                <a:gd name="T8" fmla="*/ 16 w 42"/>
                <a:gd name="T9" fmla="*/ 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2">
                  <a:moveTo>
                    <a:pt x="16" y="3"/>
                  </a:moveTo>
                  <a:cubicBezTo>
                    <a:pt x="6" y="7"/>
                    <a:pt x="0" y="17"/>
                    <a:pt x="4" y="27"/>
                  </a:cubicBezTo>
                  <a:cubicBezTo>
                    <a:pt x="7" y="37"/>
                    <a:pt x="17" y="42"/>
                    <a:pt x="27" y="39"/>
                  </a:cubicBezTo>
                  <a:cubicBezTo>
                    <a:pt x="37" y="36"/>
                    <a:pt x="42" y="25"/>
                    <a:pt x="39" y="16"/>
                  </a:cubicBezTo>
                  <a:cubicBezTo>
                    <a:pt x="36" y="6"/>
                    <a:pt x="25" y="0"/>
                    <a:pt x="16" y="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3" name="Rectangle 86">
              <a:extLst>
                <a:ext uri="{FF2B5EF4-FFF2-40B4-BE49-F238E27FC236}">
                  <a16:creationId xmlns:a16="http://schemas.microsoft.com/office/drawing/2014/main" id="{EC087252-777D-4B97-AC78-FB3A1DCE33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9993" y="3172348"/>
              <a:ext cx="271943" cy="1105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4" name="Rectangle 87">
              <a:extLst>
                <a:ext uri="{FF2B5EF4-FFF2-40B4-BE49-F238E27FC236}">
                  <a16:creationId xmlns:a16="http://schemas.microsoft.com/office/drawing/2014/main" id="{61CEA411-50EF-4400-B733-CDD825E566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4905" y="3091522"/>
              <a:ext cx="11302" cy="8635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5" name="Freeform 88">
              <a:extLst>
                <a:ext uri="{FF2B5EF4-FFF2-40B4-BE49-F238E27FC236}">
                  <a16:creationId xmlns:a16="http://schemas.microsoft.com/office/drawing/2014/main" id="{97D57161-144D-4411-B5E3-E8DF1F209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5160" y="2884965"/>
              <a:ext cx="310792" cy="58720"/>
            </a:xfrm>
            <a:custGeom>
              <a:avLst/>
              <a:gdLst>
                <a:gd name="T0" fmla="*/ 349 w 349"/>
                <a:gd name="T1" fmla="*/ 33 h 67"/>
                <a:gd name="T2" fmla="*/ 316 w 349"/>
                <a:gd name="T3" fmla="*/ 67 h 67"/>
                <a:gd name="T4" fmla="*/ 33 w 349"/>
                <a:gd name="T5" fmla="*/ 67 h 67"/>
                <a:gd name="T6" fmla="*/ 0 w 349"/>
                <a:gd name="T7" fmla="*/ 33 h 67"/>
                <a:gd name="T8" fmla="*/ 0 w 349"/>
                <a:gd name="T9" fmla="*/ 33 h 67"/>
                <a:gd name="T10" fmla="*/ 33 w 349"/>
                <a:gd name="T11" fmla="*/ 0 h 67"/>
                <a:gd name="T12" fmla="*/ 316 w 349"/>
                <a:gd name="T13" fmla="*/ 0 h 67"/>
                <a:gd name="T14" fmla="*/ 349 w 349"/>
                <a:gd name="T15" fmla="*/ 3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9" h="67">
                  <a:moveTo>
                    <a:pt x="349" y="33"/>
                  </a:moveTo>
                  <a:cubicBezTo>
                    <a:pt x="349" y="52"/>
                    <a:pt x="334" y="67"/>
                    <a:pt x="316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15" y="67"/>
                    <a:pt x="0" y="52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334" y="0"/>
                    <a:pt x="349" y="15"/>
                    <a:pt x="349" y="3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6" name="Freeform 89">
              <a:extLst>
                <a:ext uri="{FF2B5EF4-FFF2-40B4-BE49-F238E27FC236}">
                  <a16:creationId xmlns:a16="http://schemas.microsoft.com/office/drawing/2014/main" id="{175F69EB-8BE8-40E4-95CA-3022CA1D2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5160" y="2961647"/>
              <a:ext cx="310792" cy="58720"/>
            </a:xfrm>
            <a:custGeom>
              <a:avLst/>
              <a:gdLst>
                <a:gd name="T0" fmla="*/ 349 w 349"/>
                <a:gd name="T1" fmla="*/ 34 h 67"/>
                <a:gd name="T2" fmla="*/ 316 w 349"/>
                <a:gd name="T3" fmla="*/ 67 h 67"/>
                <a:gd name="T4" fmla="*/ 33 w 349"/>
                <a:gd name="T5" fmla="*/ 67 h 67"/>
                <a:gd name="T6" fmla="*/ 0 w 349"/>
                <a:gd name="T7" fmla="*/ 34 h 67"/>
                <a:gd name="T8" fmla="*/ 0 w 349"/>
                <a:gd name="T9" fmla="*/ 34 h 67"/>
                <a:gd name="T10" fmla="*/ 33 w 349"/>
                <a:gd name="T11" fmla="*/ 0 h 67"/>
                <a:gd name="T12" fmla="*/ 316 w 349"/>
                <a:gd name="T13" fmla="*/ 0 h 67"/>
                <a:gd name="T14" fmla="*/ 349 w 349"/>
                <a:gd name="T15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9" h="67">
                  <a:moveTo>
                    <a:pt x="349" y="34"/>
                  </a:moveTo>
                  <a:cubicBezTo>
                    <a:pt x="349" y="52"/>
                    <a:pt x="334" y="67"/>
                    <a:pt x="316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15" y="67"/>
                    <a:pt x="0" y="52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334" y="0"/>
                    <a:pt x="349" y="15"/>
                    <a:pt x="349" y="3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7" name="Freeform 90">
              <a:extLst>
                <a:ext uri="{FF2B5EF4-FFF2-40B4-BE49-F238E27FC236}">
                  <a16:creationId xmlns:a16="http://schemas.microsoft.com/office/drawing/2014/main" id="{0533A97C-C360-471C-8A3E-94971B488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5160" y="3039019"/>
              <a:ext cx="310792" cy="58720"/>
            </a:xfrm>
            <a:custGeom>
              <a:avLst/>
              <a:gdLst>
                <a:gd name="T0" fmla="*/ 349 w 349"/>
                <a:gd name="T1" fmla="*/ 34 h 67"/>
                <a:gd name="T2" fmla="*/ 316 w 349"/>
                <a:gd name="T3" fmla="*/ 67 h 67"/>
                <a:gd name="T4" fmla="*/ 33 w 349"/>
                <a:gd name="T5" fmla="*/ 67 h 67"/>
                <a:gd name="T6" fmla="*/ 0 w 349"/>
                <a:gd name="T7" fmla="*/ 34 h 67"/>
                <a:gd name="T8" fmla="*/ 0 w 349"/>
                <a:gd name="T9" fmla="*/ 34 h 67"/>
                <a:gd name="T10" fmla="*/ 33 w 349"/>
                <a:gd name="T11" fmla="*/ 0 h 67"/>
                <a:gd name="T12" fmla="*/ 316 w 349"/>
                <a:gd name="T13" fmla="*/ 0 h 67"/>
                <a:gd name="T14" fmla="*/ 349 w 349"/>
                <a:gd name="T15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9" h="67">
                  <a:moveTo>
                    <a:pt x="349" y="34"/>
                  </a:moveTo>
                  <a:cubicBezTo>
                    <a:pt x="349" y="52"/>
                    <a:pt x="334" y="67"/>
                    <a:pt x="316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15" y="67"/>
                    <a:pt x="0" y="52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334" y="0"/>
                    <a:pt x="349" y="15"/>
                    <a:pt x="349" y="3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8" name="Rectangle 91">
              <a:extLst>
                <a:ext uri="{FF2B5EF4-FFF2-40B4-BE49-F238E27FC236}">
                  <a16:creationId xmlns:a16="http://schemas.microsoft.com/office/drawing/2014/main" id="{2BEBAEF4-1246-445D-B692-7D9B3A8131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0366" y="2902236"/>
              <a:ext cx="21190" cy="2141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9" name="Rectangle 92">
              <a:extLst>
                <a:ext uri="{FF2B5EF4-FFF2-40B4-BE49-F238E27FC236}">
                  <a16:creationId xmlns:a16="http://schemas.microsoft.com/office/drawing/2014/main" id="{5913EF3E-25CD-478A-850F-8D223DFA30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4271" y="2902236"/>
              <a:ext cx="20484" cy="2141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0" name="Rectangle 93">
              <a:extLst>
                <a:ext uri="{FF2B5EF4-FFF2-40B4-BE49-F238E27FC236}">
                  <a16:creationId xmlns:a16="http://schemas.microsoft.com/office/drawing/2014/main" id="{AEA66CC6-5B7B-4EBC-8815-710D446A18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7469" y="2902236"/>
              <a:ext cx="20484" cy="2141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1" name="Rectangle 94">
              <a:extLst>
                <a:ext uri="{FF2B5EF4-FFF2-40B4-BE49-F238E27FC236}">
                  <a16:creationId xmlns:a16="http://schemas.microsoft.com/office/drawing/2014/main" id="{02D14099-BF7D-4A50-8754-59BBFADCB9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9961" y="2902236"/>
              <a:ext cx="20484" cy="2141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2" name="Rectangle 95">
              <a:extLst>
                <a:ext uri="{FF2B5EF4-FFF2-40B4-BE49-F238E27FC236}">
                  <a16:creationId xmlns:a16="http://schemas.microsoft.com/office/drawing/2014/main" id="{49404F84-04CB-4650-8476-0CA513DF72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3159" y="2902236"/>
              <a:ext cx="21190" cy="2141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3" name="Rectangle 96">
              <a:extLst>
                <a:ext uri="{FF2B5EF4-FFF2-40B4-BE49-F238E27FC236}">
                  <a16:creationId xmlns:a16="http://schemas.microsoft.com/office/drawing/2014/main" id="{B61EE8DE-0DC0-4FFA-84B8-F59C722AFD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6357" y="2902236"/>
              <a:ext cx="21190" cy="2141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4" name="Rectangle 97">
              <a:extLst>
                <a:ext uri="{FF2B5EF4-FFF2-40B4-BE49-F238E27FC236}">
                  <a16:creationId xmlns:a16="http://schemas.microsoft.com/office/drawing/2014/main" id="{AFE3B3B3-AB3B-4A43-A1A3-76690A79F1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849" y="2902236"/>
              <a:ext cx="21897" cy="2141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5" name="Rectangle 98">
              <a:extLst>
                <a:ext uri="{FF2B5EF4-FFF2-40B4-BE49-F238E27FC236}">
                  <a16:creationId xmlns:a16="http://schemas.microsoft.com/office/drawing/2014/main" id="{128B614F-03F8-4F88-90DB-53309832AB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0366" y="3059053"/>
              <a:ext cx="21190" cy="20034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6" name="Rectangle 99">
              <a:extLst>
                <a:ext uri="{FF2B5EF4-FFF2-40B4-BE49-F238E27FC236}">
                  <a16:creationId xmlns:a16="http://schemas.microsoft.com/office/drawing/2014/main" id="{64EE4D78-B8C3-4056-B547-E5D51B1915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4271" y="3059053"/>
              <a:ext cx="20484" cy="20034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7" name="Rectangle 100">
              <a:extLst>
                <a:ext uri="{FF2B5EF4-FFF2-40B4-BE49-F238E27FC236}">
                  <a16:creationId xmlns:a16="http://schemas.microsoft.com/office/drawing/2014/main" id="{2A19D1A0-8131-4187-B5B9-803943455B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7469" y="3059053"/>
              <a:ext cx="20484" cy="20034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8" name="Rectangle 101">
              <a:extLst>
                <a:ext uri="{FF2B5EF4-FFF2-40B4-BE49-F238E27FC236}">
                  <a16:creationId xmlns:a16="http://schemas.microsoft.com/office/drawing/2014/main" id="{ECF5BCC8-33B6-4D38-80B3-A8080E5E64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3159" y="3059053"/>
              <a:ext cx="21190" cy="20034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9" name="Rectangle 102">
              <a:extLst>
                <a:ext uri="{FF2B5EF4-FFF2-40B4-BE49-F238E27FC236}">
                  <a16:creationId xmlns:a16="http://schemas.microsoft.com/office/drawing/2014/main" id="{6A51DAA6-3B22-4E4C-8E08-DC949E686E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849" y="3059053"/>
              <a:ext cx="21897" cy="20034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0" name="Oval 103">
              <a:extLst>
                <a:ext uri="{FF2B5EF4-FFF2-40B4-BE49-F238E27FC236}">
                  <a16:creationId xmlns:a16="http://schemas.microsoft.com/office/drawing/2014/main" id="{B7467F61-553C-402E-9611-707FF53FFF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2413" y="2978227"/>
              <a:ext cx="24016" cy="23488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1" name="Oval 104">
              <a:extLst>
                <a:ext uri="{FF2B5EF4-FFF2-40B4-BE49-F238E27FC236}">
                  <a16:creationId xmlns:a16="http://schemas.microsoft.com/office/drawing/2014/main" id="{D2C549BD-38C1-4A01-A20C-C6B8EA02B6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2858" y="2978227"/>
              <a:ext cx="24722" cy="23488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2" name="Oval 105">
              <a:extLst>
                <a:ext uri="{FF2B5EF4-FFF2-40B4-BE49-F238E27FC236}">
                  <a16:creationId xmlns:a16="http://schemas.microsoft.com/office/drawing/2014/main" id="{40D2844B-79CA-4F23-B3F7-12E983968E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3303" y="2978227"/>
              <a:ext cx="24016" cy="23488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5B02D245-A8D9-4B7F-944C-9B74443BBA4A}"/>
                </a:ext>
              </a:extLst>
            </p:cNvPr>
            <p:cNvGrpSpPr/>
            <p:nvPr/>
          </p:nvGrpSpPr>
          <p:grpSpPr>
            <a:xfrm>
              <a:off x="1051632" y="936726"/>
              <a:ext cx="417449" cy="377420"/>
              <a:chOff x="2444750" y="3662363"/>
              <a:chExt cx="741363" cy="815975"/>
            </a:xfr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</p:grpSpPr>
          <p:sp>
            <p:nvSpPr>
              <p:cNvPr id="143" name="Freeform 36">
                <a:extLst>
                  <a:ext uri="{FF2B5EF4-FFF2-40B4-BE49-F238E27FC236}">
                    <a16:creationId xmlns:a16="http://schemas.microsoft.com/office/drawing/2014/main" id="{B7CD43F4-F59A-4D27-A382-F0F84017FF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65400" y="3787775"/>
                <a:ext cx="500063" cy="690563"/>
              </a:xfrm>
              <a:custGeom>
                <a:avLst/>
                <a:gdLst>
                  <a:gd name="T0" fmla="*/ 815 w 2202"/>
                  <a:gd name="T1" fmla="*/ 326 h 3044"/>
                  <a:gd name="T2" fmla="*/ 520 w 2202"/>
                  <a:gd name="T3" fmla="*/ 507 h 3044"/>
                  <a:gd name="T4" fmla="*/ 330 w 2202"/>
                  <a:gd name="T5" fmla="*/ 786 h 3044"/>
                  <a:gd name="T6" fmla="*/ 281 w 2202"/>
                  <a:gd name="T7" fmla="*/ 1124 h 3044"/>
                  <a:gd name="T8" fmla="*/ 340 w 2202"/>
                  <a:gd name="T9" fmla="*/ 1395 h 3044"/>
                  <a:gd name="T10" fmla="*/ 450 w 2202"/>
                  <a:gd name="T11" fmla="*/ 1600 h 3044"/>
                  <a:gd name="T12" fmla="*/ 576 w 2202"/>
                  <a:gd name="T13" fmla="*/ 1790 h 3044"/>
                  <a:gd name="T14" fmla="*/ 654 w 2202"/>
                  <a:gd name="T15" fmla="*/ 2004 h 3044"/>
                  <a:gd name="T16" fmla="*/ 702 w 2202"/>
                  <a:gd name="T17" fmla="*/ 2151 h 3044"/>
                  <a:gd name="T18" fmla="*/ 1461 w 2202"/>
                  <a:gd name="T19" fmla="*/ 2187 h 3044"/>
                  <a:gd name="T20" fmla="*/ 1542 w 2202"/>
                  <a:gd name="T21" fmla="*/ 2079 h 3044"/>
                  <a:gd name="T22" fmla="*/ 1584 w 2202"/>
                  <a:gd name="T23" fmla="*/ 1871 h 3044"/>
                  <a:gd name="T24" fmla="*/ 1704 w 2202"/>
                  <a:gd name="T25" fmla="*/ 1672 h 3044"/>
                  <a:gd name="T26" fmla="*/ 1821 w 2202"/>
                  <a:gd name="T27" fmla="*/ 1484 h 3044"/>
                  <a:gd name="T28" fmla="*/ 1906 w 2202"/>
                  <a:gd name="T29" fmla="*/ 1243 h 3044"/>
                  <a:gd name="T30" fmla="*/ 1911 w 2202"/>
                  <a:gd name="T31" fmla="*/ 918 h 3044"/>
                  <a:gd name="T32" fmla="*/ 1773 w 2202"/>
                  <a:gd name="T33" fmla="*/ 609 h 3044"/>
                  <a:gd name="T34" fmla="*/ 1516 w 2202"/>
                  <a:gd name="T35" fmla="*/ 384 h 3044"/>
                  <a:gd name="T36" fmla="*/ 1176 w 2202"/>
                  <a:gd name="T37" fmla="*/ 281 h 3044"/>
                  <a:gd name="T38" fmla="*/ 1365 w 2202"/>
                  <a:gd name="T39" fmla="*/ 32 h 3044"/>
                  <a:gd name="T40" fmla="*/ 1750 w 2202"/>
                  <a:gd name="T41" fmla="*/ 205 h 3044"/>
                  <a:gd name="T42" fmla="*/ 2037 w 2202"/>
                  <a:gd name="T43" fmla="*/ 501 h 3044"/>
                  <a:gd name="T44" fmla="*/ 2187 w 2202"/>
                  <a:gd name="T45" fmla="*/ 887 h 3044"/>
                  <a:gd name="T46" fmla="*/ 2185 w 2202"/>
                  <a:gd name="T47" fmla="*/ 1268 h 3044"/>
                  <a:gd name="T48" fmla="*/ 2100 w 2202"/>
                  <a:gd name="T49" fmla="*/ 1548 h 3044"/>
                  <a:gd name="T50" fmla="*/ 1981 w 2202"/>
                  <a:gd name="T51" fmla="*/ 1758 h 3044"/>
                  <a:gd name="T52" fmla="*/ 1861 w 2202"/>
                  <a:gd name="T53" fmla="*/ 1940 h 3044"/>
                  <a:gd name="T54" fmla="*/ 1820 w 2202"/>
                  <a:gd name="T55" fmla="*/ 2103 h 3044"/>
                  <a:gd name="T56" fmla="*/ 1706 w 2202"/>
                  <a:gd name="T57" fmla="*/ 2337 h 3044"/>
                  <a:gd name="T58" fmla="*/ 1614 w 2202"/>
                  <a:gd name="T59" fmla="*/ 2494 h 3044"/>
                  <a:gd name="T60" fmla="*/ 1606 w 2202"/>
                  <a:gd name="T61" fmla="*/ 2641 h 3044"/>
                  <a:gd name="T62" fmla="*/ 1603 w 2202"/>
                  <a:gd name="T63" fmla="*/ 2709 h 3044"/>
                  <a:gd name="T64" fmla="*/ 1570 w 2202"/>
                  <a:gd name="T65" fmla="*/ 2800 h 3044"/>
                  <a:gd name="T66" fmla="*/ 1455 w 2202"/>
                  <a:gd name="T67" fmla="*/ 2899 h 3044"/>
                  <a:gd name="T68" fmla="*/ 1285 w 2202"/>
                  <a:gd name="T69" fmla="*/ 3021 h 3044"/>
                  <a:gd name="T70" fmla="*/ 967 w 2202"/>
                  <a:gd name="T71" fmla="*/ 3042 h 3044"/>
                  <a:gd name="T72" fmla="*/ 827 w 2202"/>
                  <a:gd name="T73" fmla="*/ 2933 h 3044"/>
                  <a:gd name="T74" fmla="*/ 659 w 2202"/>
                  <a:gd name="T75" fmla="*/ 2834 h 3044"/>
                  <a:gd name="T76" fmla="*/ 603 w 2202"/>
                  <a:gd name="T77" fmla="*/ 2728 h 3044"/>
                  <a:gd name="T78" fmla="*/ 599 w 2202"/>
                  <a:gd name="T79" fmla="*/ 2681 h 3044"/>
                  <a:gd name="T80" fmla="*/ 592 w 2202"/>
                  <a:gd name="T81" fmla="*/ 2555 h 3044"/>
                  <a:gd name="T82" fmla="*/ 584 w 2202"/>
                  <a:gd name="T83" fmla="*/ 2415 h 3044"/>
                  <a:gd name="T84" fmla="*/ 409 w 2202"/>
                  <a:gd name="T85" fmla="*/ 2202 h 3044"/>
                  <a:gd name="T86" fmla="*/ 369 w 2202"/>
                  <a:gd name="T87" fmla="*/ 1999 h 3044"/>
                  <a:gd name="T88" fmla="*/ 269 w 2202"/>
                  <a:gd name="T89" fmla="*/ 1828 h 3044"/>
                  <a:gd name="T90" fmla="*/ 149 w 2202"/>
                  <a:gd name="T91" fmla="*/ 1640 h 3044"/>
                  <a:gd name="T92" fmla="*/ 45 w 2202"/>
                  <a:gd name="T93" fmla="*/ 1390 h 3044"/>
                  <a:gd name="T94" fmla="*/ 0 w 2202"/>
                  <a:gd name="T95" fmla="*/ 1059 h 3044"/>
                  <a:gd name="T96" fmla="*/ 87 w 2202"/>
                  <a:gd name="T97" fmla="*/ 647 h 3044"/>
                  <a:gd name="T98" fmla="*/ 323 w 2202"/>
                  <a:gd name="T99" fmla="*/ 311 h 3044"/>
                  <a:gd name="T100" fmla="*/ 674 w 2202"/>
                  <a:gd name="T101" fmla="*/ 84 h 3044"/>
                  <a:gd name="T102" fmla="*/ 1101 w 2202"/>
                  <a:gd name="T103" fmla="*/ 0 h 30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202" h="3044">
                    <a:moveTo>
                      <a:pt x="1101" y="277"/>
                    </a:moveTo>
                    <a:lnTo>
                      <a:pt x="1026" y="281"/>
                    </a:lnTo>
                    <a:lnTo>
                      <a:pt x="953" y="290"/>
                    </a:lnTo>
                    <a:lnTo>
                      <a:pt x="883" y="306"/>
                    </a:lnTo>
                    <a:lnTo>
                      <a:pt x="815" y="326"/>
                    </a:lnTo>
                    <a:lnTo>
                      <a:pt x="749" y="353"/>
                    </a:lnTo>
                    <a:lnTo>
                      <a:pt x="686" y="385"/>
                    </a:lnTo>
                    <a:lnTo>
                      <a:pt x="627" y="421"/>
                    </a:lnTo>
                    <a:lnTo>
                      <a:pt x="572" y="462"/>
                    </a:lnTo>
                    <a:lnTo>
                      <a:pt x="520" y="507"/>
                    </a:lnTo>
                    <a:lnTo>
                      <a:pt x="472" y="555"/>
                    </a:lnTo>
                    <a:lnTo>
                      <a:pt x="430" y="609"/>
                    </a:lnTo>
                    <a:lnTo>
                      <a:pt x="392" y="665"/>
                    </a:lnTo>
                    <a:lnTo>
                      <a:pt x="359" y="724"/>
                    </a:lnTo>
                    <a:lnTo>
                      <a:pt x="330" y="786"/>
                    </a:lnTo>
                    <a:lnTo>
                      <a:pt x="309" y="852"/>
                    </a:lnTo>
                    <a:lnTo>
                      <a:pt x="293" y="918"/>
                    </a:lnTo>
                    <a:lnTo>
                      <a:pt x="282" y="987"/>
                    </a:lnTo>
                    <a:lnTo>
                      <a:pt x="279" y="1059"/>
                    </a:lnTo>
                    <a:lnTo>
                      <a:pt x="281" y="1124"/>
                    </a:lnTo>
                    <a:lnTo>
                      <a:pt x="287" y="1185"/>
                    </a:lnTo>
                    <a:lnTo>
                      <a:pt x="296" y="1243"/>
                    </a:lnTo>
                    <a:lnTo>
                      <a:pt x="309" y="1297"/>
                    </a:lnTo>
                    <a:lnTo>
                      <a:pt x="323" y="1348"/>
                    </a:lnTo>
                    <a:lnTo>
                      <a:pt x="340" y="1395"/>
                    </a:lnTo>
                    <a:lnTo>
                      <a:pt x="360" y="1441"/>
                    </a:lnTo>
                    <a:lnTo>
                      <a:pt x="381" y="1484"/>
                    </a:lnTo>
                    <a:lnTo>
                      <a:pt x="403" y="1524"/>
                    </a:lnTo>
                    <a:lnTo>
                      <a:pt x="427" y="1563"/>
                    </a:lnTo>
                    <a:lnTo>
                      <a:pt x="450" y="1600"/>
                    </a:lnTo>
                    <a:lnTo>
                      <a:pt x="475" y="1636"/>
                    </a:lnTo>
                    <a:lnTo>
                      <a:pt x="497" y="1671"/>
                    </a:lnTo>
                    <a:lnTo>
                      <a:pt x="525" y="1711"/>
                    </a:lnTo>
                    <a:lnTo>
                      <a:pt x="551" y="1750"/>
                    </a:lnTo>
                    <a:lnTo>
                      <a:pt x="576" y="1790"/>
                    </a:lnTo>
                    <a:lnTo>
                      <a:pt x="599" y="1830"/>
                    </a:lnTo>
                    <a:lnTo>
                      <a:pt x="618" y="1871"/>
                    </a:lnTo>
                    <a:lnTo>
                      <a:pt x="634" y="1913"/>
                    </a:lnTo>
                    <a:lnTo>
                      <a:pt x="646" y="1957"/>
                    </a:lnTo>
                    <a:lnTo>
                      <a:pt x="654" y="2004"/>
                    </a:lnTo>
                    <a:lnTo>
                      <a:pt x="657" y="2052"/>
                    </a:lnTo>
                    <a:lnTo>
                      <a:pt x="660" y="2079"/>
                    </a:lnTo>
                    <a:lnTo>
                      <a:pt x="670" y="2105"/>
                    </a:lnTo>
                    <a:lnTo>
                      <a:pt x="684" y="2129"/>
                    </a:lnTo>
                    <a:lnTo>
                      <a:pt x="702" y="2151"/>
                    </a:lnTo>
                    <a:lnTo>
                      <a:pt x="721" y="2170"/>
                    </a:lnTo>
                    <a:lnTo>
                      <a:pt x="742" y="2187"/>
                    </a:lnTo>
                    <a:lnTo>
                      <a:pt x="761" y="2202"/>
                    </a:lnTo>
                    <a:lnTo>
                      <a:pt x="1441" y="2202"/>
                    </a:lnTo>
                    <a:lnTo>
                      <a:pt x="1461" y="2187"/>
                    </a:lnTo>
                    <a:lnTo>
                      <a:pt x="1481" y="2170"/>
                    </a:lnTo>
                    <a:lnTo>
                      <a:pt x="1501" y="2151"/>
                    </a:lnTo>
                    <a:lnTo>
                      <a:pt x="1518" y="2129"/>
                    </a:lnTo>
                    <a:lnTo>
                      <a:pt x="1532" y="2105"/>
                    </a:lnTo>
                    <a:lnTo>
                      <a:pt x="1542" y="2079"/>
                    </a:lnTo>
                    <a:lnTo>
                      <a:pt x="1546" y="2052"/>
                    </a:lnTo>
                    <a:lnTo>
                      <a:pt x="1548" y="2004"/>
                    </a:lnTo>
                    <a:lnTo>
                      <a:pt x="1556" y="1957"/>
                    </a:lnTo>
                    <a:lnTo>
                      <a:pt x="1569" y="1913"/>
                    </a:lnTo>
                    <a:lnTo>
                      <a:pt x="1584" y="1871"/>
                    </a:lnTo>
                    <a:lnTo>
                      <a:pt x="1604" y="1831"/>
                    </a:lnTo>
                    <a:lnTo>
                      <a:pt x="1627" y="1790"/>
                    </a:lnTo>
                    <a:lnTo>
                      <a:pt x="1650" y="1750"/>
                    </a:lnTo>
                    <a:lnTo>
                      <a:pt x="1677" y="1712"/>
                    </a:lnTo>
                    <a:lnTo>
                      <a:pt x="1704" y="1672"/>
                    </a:lnTo>
                    <a:lnTo>
                      <a:pt x="1728" y="1637"/>
                    </a:lnTo>
                    <a:lnTo>
                      <a:pt x="1752" y="1601"/>
                    </a:lnTo>
                    <a:lnTo>
                      <a:pt x="1775" y="1564"/>
                    </a:lnTo>
                    <a:lnTo>
                      <a:pt x="1799" y="1524"/>
                    </a:lnTo>
                    <a:lnTo>
                      <a:pt x="1821" y="1484"/>
                    </a:lnTo>
                    <a:lnTo>
                      <a:pt x="1843" y="1441"/>
                    </a:lnTo>
                    <a:lnTo>
                      <a:pt x="1862" y="1395"/>
                    </a:lnTo>
                    <a:lnTo>
                      <a:pt x="1879" y="1348"/>
                    </a:lnTo>
                    <a:lnTo>
                      <a:pt x="1894" y="1297"/>
                    </a:lnTo>
                    <a:lnTo>
                      <a:pt x="1906" y="1243"/>
                    </a:lnTo>
                    <a:lnTo>
                      <a:pt x="1915" y="1185"/>
                    </a:lnTo>
                    <a:lnTo>
                      <a:pt x="1921" y="1124"/>
                    </a:lnTo>
                    <a:lnTo>
                      <a:pt x="1923" y="1059"/>
                    </a:lnTo>
                    <a:lnTo>
                      <a:pt x="1920" y="987"/>
                    </a:lnTo>
                    <a:lnTo>
                      <a:pt x="1911" y="918"/>
                    </a:lnTo>
                    <a:lnTo>
                      <a:pt x="1894" y="851"/>
                    </a:lnTo>
                    <a:lnTo>
                      <a:pt x="1872" y="786"/>
                    </a:lnTo>
                    <a:lnTo>
                      <a:pt x="1845" y="724"/>
                    </a:lnTo>
                    <a:lnTo>
                      <a:pt x="1811" y="664"/>
                    </a:lnTo>
                    <a:lnTo>
                      <a:pt x="1773" y="609"/>
                    </a:lnTo>
                    <a:lnTo>
                      <a:pt x="1730" y="555"/>
                    </a:lnTo>
                    <a:lnTo>
                      <a:pt x="1682" y="507"/>
                    </a:lnTo>
                    <a:lnTo>
                      <a:pt x="1631" y="462"/>
                    </a:lnTo>
                    <a:lnTo>
                      <a:pt x="1575" y="420"/>
                    </a:lnTo>
                    <a:lnTo>
                      <a:pt x="1516" y="384"/>
                    </a:lnTo>
                    <a:lnTo>
                      <a:pt x="1454" y="353"/>
                    </a:lnTo>
                    <a:lnTo>
                      <a:pt x="1388" y="326"/>
                    </a:lnTo>
                    <a:lnTo>
                      <a:pt x="1319" y="306"/>
                    </a:lnTo>
                    <a:lnTo>
                      <a:pt x="1249" y="290"/>
                    </a:lnTo>
                    <a:lnTo>
                      <a:pt x="1176" y="281"/>
                    </a:lnTo>
                    <a:lnTo>
                      <a:pt x="1101" y="277"/>
                    </a:lnTo>
                    <a:close/>
                    <a:moveTo>
                      <a:pt x="1101" y="0"/>
                    </a:moveTo>
                    <a:lnTo>
                      <a:pt x="1191" y="4"/>
                    </a:lnTo>
                    <a:lnTo>
                      <a:pt x="1280" y="15"/>
                    </a:lnTo>
                    <a:lnTo>
                      <a:pt x="1365" y="32"/>
                    </a:lnTo>
                    <a:lnTo>
                      <a:pt x="1449" y="55"/>
                    </a:lnTo>
                    <a:lnTo>
                      <a:pt x="1529" y="84"/>
                    </a:lnTo>
                    <a:lnTo>
                      <a:pt x="1606" y="119"/>
                    </a:lnTo>
                    <a:lnTo>
                      <a:pt x="1680" y="160"/>
                    </a:lnTo>
                    <a:lnTo>
                      <a:pt x="1750" y="205"/>
                    </a:lnTo>
                    <a:lnTo>
                      <a:pt x="1816" y="256"/>
                    </a:lnTo>
                    <a:lnTo>
                      <a:pt x="1879" y="311"/>
                    </a:lnTo>
                    <a:lnTo>
                      <a:pt x="1936" y="370"/>
                    </a:lnTo>
                    <a:lnTo>
                      <a:pt x="1989" y="434"/>
                    </a:lnTo>
                    <a:lnTo>
                      <a:pt x="2037" y="501"/>
                    </a:lnTo>
                    <a:lnTo>
                      <a:pt x="2079" y="572"/>
                    </a:lnTo>
                    <a:lnTo>
                      <a:pt x="2115" y="647"/>
                    </a:lnTo>
                    <a:lnTo>
                      <a:pt x="2145" y="725"/>
                    </a:lnTo>
                    <a:lnTo>
                      <a:pt x="2170" y="804"/>
                    </a:lnTo>
                    <a:lnTo>
                      <a:pt x="2187" y="887"/>
                    </a:lnTo>
                    <a:lnTo>
                      <a:pt x="2198" y="971"/>
                    </a:lnTo>
                    <a:lnTo>
                      <a:pt x="2202" y="1059"/>
                    </a:lnTo>
                    <a:lnTo>
                      <a:pt x="2200" y="1132"/>
                    </a:lnTo>
                    <a:lnTo>
                      <a:pt x="2194" y="1202"/>
                    </a:lnTo>
                    <a:lnTo>
                      <a:pt x="2185" y="1268"/>
                    </a:lnTo>
                    <a:lnTo>
                      <a:pt x="2172" y="1331"/>
                    </a:lnTo>
                    <a:lnTo>
                      <a:pt x="2158" y="1390"/>
                    </a:lnTo>
                    <a:lnTo>
                      <a:pt x="2140" y="1445"/>
                    </a:lnTo>
                    <a:lnTo>
                      <a:pt x="2120" y="1498"/>
                    </a:lnTo>
                    <a:lnTo>
                      <a:pt x="2100" y="1548"/>
                    </a:lnTo>
                    <a:lnTo>
                      <a:pt x="2077" y="1594"/>
                    </a:lnTo>
                    <a:lnTo>
                      <a:pt x="2054" y="1639"/>
                    </a:lnTo>
                    <a:lnTo>
                      <a:pt x="2029" y="1682"/>
                    </a:lnTo>
                    <a:lnTo>
                      <a:pt x="2005" y="1721"/>
                    </a:lnTo>
                    <a:lnTo>
                      <a:pt x="1981" y="1758"/>
                    </a:lnTo>
                    <a:lnTo>
                      <a:pt x="1957" y="1793"/>
                    </a:lnTo>
                    <a:lnTo>
                      <a:pt x="1934" y="1827"/>
                    </a:lnTo>
                    <a:lnTo>
                      <a:pt x="1906" y="1869"/>
                    </a:lnTo>
                    <a:lnTo>
                      <a:pt x="1881" y="1907"/>
                    </a:lnTo>
                    <a:lnTo>
                      <a:pt x="1861" y="1940"/>
                    </a:lnTo>
                    <a:lnTo>
                      <a:pt x="1845" y="1971"/>
                    </a:lnTo>
                    <a:lnTo>
                      <a:pt x="1833" y="1999"/>
                    </a:lnTo>
                    <a:lnTo>
                      <a:pt x="1826" y="2026"/>
                    </a:lnTo>
                    <a:lnTo>
                      <a:pt x="1823" y="2052"/>
                    </a:lnTo>
                    <a:lnTo>
                      <a:pt x="1820" y="2103"/>
                    </a:lnTo>
                    <a:lnTo>
                      <a:pt x="1810" y="2153"/>
                    </a:lnTo>
                    <a:lnTo>
                      <a:pt x="1794" y="2202"/>
                    </a:lnTo>
                    <a:lnTo>
                      <a:pt x="1770" y="2249"/>
                    </a:lnTo>
                    <a:lnTo>
                      <a:pt x="1741" y="2294"/>
                    </a:lnTo>
                    <a:lnTo>
                      <a:pt x="1706" y="2337"/>
                    </a:lnTo>
                    <a:lnTo>
                      <a:pt x="1665" y="2378"/>
                    </a:lnTo>
                    <a:lnTo>
                      <a:pt x="1619" y="2415"/>
                    </a:lnTo>
                    <a:lnTo>
                      <a:pt x="1617" y="2438"/>
                    </a:lnTo>
                    <a:lnTo>
                      <a:pt x="1616" y="2465"/>
                    </a:lnTo>
                    <a:lnTo>
                      <a:pt x="1614" y="2494"/>
                    </a:lnTo>
                    <a:lnTo>
                      <a:pt x="1613" y="2525"/>
                    </a:lnTo>
                    <a:lnTo>
                      <a:pt x="1611" y="2555"/>
                    </a:lnTo>
                    <a:lnTo>
                      <a:pt x="1609" y="2586"/>
                    </a:lnTo>
                    <a:lnTo>
                      <a:pt x="1607" y="2615"/>
                    </a:lnTo>
                    <a:lnTo>
                      <a:pt x="1606" y="2641"/>
                    </a:lnTo>
                    <a:lnTo>
                      <a:pt x="1605" y="2663"/>
                    </a:lnTo>
                    <a:lnTo>
                      <a:pt x="1604" y="2681"/>
                    </a:lnTo>
                    <a:lnTo>
                      <a:pt x="1604" y="2692"/>
                    </a:lnTo>
                    <a:lnTo>
                      <a:pt x="1603" y="2696"/>
                    </a:lnTo>
                    <a:lnTo>
                      <a:pt x="1603" y="2709"/>
                    </a:lnTo>
                    <a:lnTo>
                      <a:pt x="1600" y="2725"/>
                    </a:lnTo>
                    <a:lnTo>
                      <a:pt x="1596" y="2742"/>
                    </a:lnTo>
                    <a:lnTo>
                      <a:pt x="1590" y="2760"/>
                    </a:lnTo>
                    <a:lnTo>
                      <a:pt x="1581" y="2780"/>
                    </a:lnTo>
                    <a:lnTo>
                      <a:pt x="1570" y="2800"/>
                    </a:lnTo>
                    <a:lnTo>
                      <a:pt x="1555" y="2820"/>
                    </a:lnTo>
                    <a:lnTo>
                      <a:pt x="1537" y="2842"/>
                    </a:lnTo>
                    <a:lnTo>
                      <a:pt x="1514" y="2861"/>
                    </a:lnTo>
                    <a:lnTo>
                      <a:pt x="1487" y="2881"/>
                    </a:lnTo>
                    <a:lnTo>
                      <a:pt x="1455" y="2899"/>
                    </a:lnTo>
                    <a:lnTo>
                      <a:pt x="1418" y="2917"/>
                    </a:lnTo>
                    <a:lnTo>
                      <a:pt x="1375" y="2933"/>
                    </a:lnTo>
                    <a:lnTo>
                      <a:pt x="1350" y="2965"/>
                    </a:lnTo>
                    <a:lnTo>
                      <a:pt x="1319" y="2994"/>
                    </a:lnTo>
                    <a:lnTo>
                      <a:pt x="1285" y="3021"/>
                    </a:lnTo>
                    <a:lnTo>
                      <a:pt x="1262" y="3034"/>
                    </a:lnTo>
                    <a:lnTo>
                      <a:pt x="1235" y="3042"/>
                    </a:lnTo>
                    <a:lnTo>
                      <a:pt x="1208" y="3044"/>
                    </a:lnTo>
                    <a:lnTo>
                      <a:pt x="994" y="3044"/>
                    </a:lnTo>
                    <a:lnTo>
                      <a:pt x="967" y="3042"/>
                    </a:lnTo>
                    <a:lnTo>
                      <a:pt x="941" y="3034"/>
                    </a:lnTo>
                    <a:lnTo>
                      <a:pt x="917" y="3021"/>
                    </a:lnTo>
                    <a:lnTo>
                      <a:pt x="883" y="2994"/>
                    </a:lnTo>
                    <a:lnTo>
                      <a:pt x="852" y="2965"/>
                    </a:lnTo>
                    <a:lnTo>
                      <a:pt x="827" y="2933"/>
                    </a:lnTo>
                    <a:lnTo>
                      <a:pt x="782" y="2915"/>
                    </a:lnTo>
                    <a:lnTo>
                      <a:pt x="743" y="2897"/>
                    </a:lnTo>
                    <a:lnTo>
                      <a:pt x="709" y="2877"/>
                    </a:lnTo>
                    <a:lnTo>
                      <a:pt x="682" y="2855"/>
                    </a:lnTo>
                    <a:lnTo>
                      <a:pt x="659" y="2834"/>
                    </a:lnTo>
                    <a:lnTo>
                      <a:pt x="641" y="2811"/>
                    </a:lnTo>
                    <a:lnTo>
                      <a:pt x="627" y="2790"/>
                    </a:lnTo>
                    <a:lnTo>
                      <a:pt x="616" y="2768"/>
                    </a:lnTo>
                    <a:lnTo>
                      <a:pt x="609" y="2748"/>
                    </a:lnTo>
                    <a:lnTo>
                      <a:pt x="603" y="2728"/>
                    </a:lnTo>
                    <a:lnTo>
                      <a:pt x="601" y="2712"/>
                    </a:lnTo>
                    <a:lnTo>
                      <a:pt x="600" y="2696"/>
                    </a:lnTo>
                    <a:lnTo>
                      <a:pt x="600" y="2696"/>
                    </a:lnTo>
                    <a:lnTo>
                      <a:pt x="600" y="2692"/>
                    </a:lnTo>
                    <a:lnTo>
                      <a:pt x="599" y="2681"/>
                    </a:lnTo>
                    <a:lnTo>
                      <a:pt x="597" y="2663"/>
                    </a:lnTo>
                    <a:lnTo>
                      <a:pt x="596" y="2641"/>
                    </a:lnTo>
                    <a:lnTo>
                      <a:pt x="595" y="2615"/>
                    </a:lnTo>
                    <a:lnTo>
                      <a:pt x="593" y="2586"/>
                    </a:lnTo>
                    <a:lnTo>
                      <a:pt x="592" y="2555"/>
                    </a:lnTo>
                    <a:lnTo>
                      <a:pt x="589" y="2525"/>
                    </a:lnTo>
                    <a:lnTo>
                      <a:pt x="588" y="2494"/>
                    </a:lnTo>
                    <a:lnTo>
                      <a:pt x="586" y="2465"/>
                    </a:lnTo>
                    <a:lnTo>
                      <a:pt x="585" y="2438"/>
                    </a:lnTo>
                    <a:lnTo>
                      <a:pt x="584" y="2415"/>
                    </a:lnTo>
                    <a:lnTo>
                      <a:pt x="537" y="2378"/>
                    </a:lnTo>
                    <a:lnTo>
                      <a:pt x="496" y="2337"/>
                    </a:lnTo>
                    <a:lnTo>
                      <a:pt x="461" y="2294"/>
                    </a:lnTo>
                    <a:lnTo>
                      <a:pt x="433" y="2249"/>
                    </a:lnTo>
                    <a:lnTo>
                      <a:pt x="409" y="2202"/>
                    </a:lnTo>
                    <a:lnTo>
                      <a:pt x="393" y="2153"/>
                    </a:lnTo>
                    <a:lnTo>
                      <a:pt x="383" y="2103"/>
                    </a:lnTo>
                    <a:lnTo>
                      <a:pt x="379" y="2052"/>
                    </a:lnTo>
                    <a:lnTo>
                      <a:pt x="377" y="2026"/>
                    </a:lnTo>
                    <a:lnTo>
                      <a:pt x="369" y="1999"/>
                    </a:lnTo>
                    <a:lnTo>
                      <a:pt x="357" y="1971"/>
                    </a:lnTo>
                    <a:lnTo>
                      <a:pt x="342" y="1940"/>
                    </a:lnTo>
                    <a:lnTo>
                      <a:pt x="321" y="1907"/>
                    </a:lnTo>
                    <a:lnTo>
                      <a:pt x="297" y="1869"/>
                    </a:lnTo>
                    <a:lnTo>
                      <a:pt x="269" y="1828"/>
                    </a:lnTo>
                    <a:lnTo>
                      <a:pt x="246" y="1795"/>
                    </a:lnTo>
                    <a:lnTo>
                      <a:pt x="222" y="1758"/>
                    </a:lnTo>
                    <a:lnTo>
                      <a:pt x="197" y="1721"/>
                    </a:lnTo>
                    <a:lnTo>
                      <a:pt x="173" y="1682"/>
                    </a:lnTo>
                    <a:lnTo>
                      <a:pt x="149" y="1640"/>
                    </a:lnTo>
                    <a:lnTo>
                      <a:pt x="126" y="1594"/>
                    </a:lnTo>
                    <a:lnTo>
                      <a:pt x="103" y="1548"/>
                    </a:lnTo>
                    <a:lnTo>
                      <a:pt x="82" y="1498"/>
                    </a:lnTo>
                    <a:lnTo>
                      <a:pt x="62" y="1445"/>
                    </a:lnTo>
                    <a:lnTo>
                      <a:pt x="45" y="1390"/>
                    </a:lnTo>
                    <a:lnTo>
                      <a:pt x="30" y="1331"/>
                    </a:lnTo>
                    <a:lnTo>
                      <a:pt x="18" y="1268"/>
                    </a:lnTo>
                    <a:lnTo>
                      <a:pt x="8" y="1202"/>
                    </a:lnTo>
                    <a:lnTo>
                      <a:pt x="3" y="1132"/>
                    </a:lnTo>
                    <a:lnTo>
                      <a:pt x="0" y="1059"/>
                    </a:lnTo>
                    <a:lnTo>
                      <a:pt x="4" y="971"/>
                    </a:lnTo>
                    <a:lnTo>
                      <a:pt x="15" y="887"/>
                    </a:lnTo>
                    <a:lnTo>
                      <a:pt x="32" y="804"/>
                    </a:lnTo>
                    <a:lnTo>
                      <a:pt x="57" y="725"/>
                    </a:lnTo>
                    <a:lnTo>
                      <a:pt x="87" y="647"/>
                    </a:lnTo>
                    <a:lnTo>
                      <a:pt x="123" y="572"/>
                    </a:lnTo>
                    <a:lnTo>
                      <a:pt x="165" y="501"/>
                    </a:lnTo>
                    <a:lnTo>
                      <a:pt x="213" y="434"/>
                    </a:lnTo>
                    <a:lnTo>
                      <a:pt x="267" y="370"/>
                    </a:lnTo>
                    <a:lnTo>
                      <a:pt x="323" y="311"/>
                    </a:lnTo>
                    <a:lnTo>
                      <a:pt x="386" y="256"/>
                    </a:lnTo>
                    <a:lnTo>
                      <a:pt x="452" y="205"/>
                    </a:lnTo>
                    <a:lnTo>
                      <a:pt x="522" y="160"/>
                    </a:lnTo>
                    <a:lnTo>
                      <a:pt x="596" y="119"/>
                    </a:lnTo>
                    <a:lnTo>
                      <a:pt x="674" y="84"/>
                    </a:lnTo>
                    <a:lnTo>
                      <a:pt x="754" y="55"/>
                    </a:lnTo>
                    <a:lnTo>
                      <a:pt x="837" y="32"/>
                    </a:lnTo>
                    <a:lnTo>
                      <a:pt x="923" y="15"/>
                    </a:lnTo>
                    <a:lnTo>
                      <a:pt x="1011" y="4"/>
                    </a:lnTo>
                    <a:lnTo>
                      <a:pt x="110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4" name="Freeform 37">
                <a:extLst>
                  <a:ext uri="{FF2B5EF4-FFF2-40B4-BE49-F238E27FC236}">
                    <a16:creationId xmlns:a16="http://schemas.microsoft.com/office/drawing/2014/main" id="{658EFB50-4328-413C-B7A9-DD3783287E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0350" y="3662363"/>
                <a:ext cx="31750" cy="79375"/>
              </a:xfrm>
              <a:custGeom>
                <a:avLst/>
                <a:gdLst>
                  <a:gd name="T0" fmla="*/ 69 w 139"/>
                  <a:gd name="T1" fmla="*/ 0 h 345"/>
                  <a:gd name="T2" fmla="*/ 69 w 139"/>
                  <a:gd name="T3" fmla="*/ 0 h 345"/>
                  <a:gd name="T4" fmla="*/ 87 w 139"/>
                  <a:gd name="T5" fmla="*/ 3 h 345"/>
                  <a:gd name="T6" fmla="*/ 104 w 139"/>
                  <a:gd name="T7" fmla="*/ 9 h 345"/>
                  <a:gd name="T8" fmla="*/ 118 w 139"/>
                  <a:gd name="T9" fmla="*/ 21 h 345"/>
                  <a:gd name="T10" fmla="*/ 129 w 139"/>
                  <a:gd name="T11" fmla="*/ 34 h 345"/>
                  <a:gd name="T12" fmla="*/ 136 w 139"/>
                  <a:gd name="T13" fmla="*/ 51 h 345"/>
                  <a:gd name="T14" fmla="*/ 139 w 139"/>
                  <a:gd name="T15" fmla="*/ 69 h 345"/>
                  <a:gd name="T16" fmla="*/ 139 w 139"/>
                  <a:gd name="T17" fmla="*/ 276 h 345"/>
                  <a:gd name="T18" fmla="*/ 136 w 139"/>
                  <a:gd name="T19" fmla="*/ 296 h 345"/>
                  <a:gd name="T20" fmla="*/ 129 w 139"/>
                  <a:gd name="T21" fmla="*/ 311 h 345"/>
                  <a:gd name="T22" fmla="*/ 118 w 139"/>
                  <a:gd name="T23" fmla="*/ 326 h 345"/>
                  <a:gd name="T24" fmla="*/ 104 w 139"/>
                  <a:gd name="T25" fmla="*/ 336 h 345"/>
                  <a:gd name="T26" fmla="*/ 87 w 139"/>
                  <a:gd name="T27" fmla="*/ 343 h 345"/>
                  <a:gd name="T28" fmla="*/ 69 w 139"/>
                  <a:gd name="T29" fmla="*/ 345 h 345"/>
                  <a:gd name="T30" fmla="*/ 51 w 139"/>
                  <a:gd name="T31" fmla="*/ 343 h 345"/>
                  <a:gd name="T32" fmla="*/ 34 w 139"/>
                  <a:gd name="T33" fmla="*/ 336 h 345"/>
                  <a:gd name="T34" fmla="*/ 20 w 139"/>
                  <a:gd name="T35" fmla="*/ 326 h 345"/>
                  <a:gd name="T36" fmla="*/ 9 w 139"/>
                  <a:gd name="T37" fmla="*/ 311 h 345"/>
                  <a:gd name="T38" fmla="*/ 2 w 139"/>
                  <a:gd name="T39" fmla="*/ 296 h 345"/>
                  <a:gd name="T40" fmla="*/ 0 w 139"/>
                  <a:gd name="T41" fmla="*/ 276 h 345"/>
                  <a:gd name="T42" fmla="*/ 0 w 139"/>
                  <a:gd name="T43" fmla="*/ 69 h 345"/>
                  <a:gd name="T44" fmla="*/ 2 w 139"/>
                  <a:gd name="T45" fmla="*/ 51 h 345"/>
                  <a:gd name="T46" fmla="*/ 9 w 139"/>
                  <a:gd name="T47" fmla="*/ 34 h 345"/>
                  <a:gd name="T48" fmla="*/ 20 w 139"/>
                  <a:gd name="T49" fmla="*/ 21 h 345"/>
                  <a:gd name="T50" fmla="*/ 34 w 139"/>
                  <a:gd name="T51" fmla="*/ 9 h 345"/>
                  <a:gd name="T52" fmla="*/ 51 w 139"/>
                  <a:gd name="T53" fmla="*/ 3 h 345"/>
                  <a:gd name="T54" fmla="*/ 69 w 139"/>
                  <a:gd name="T55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9" h="345">
                    <a:moveTo>
                      <a:pt x="69" y="0"/>
                    </a:moveTo>
                    <a:lnTo>
                      <a:pt x="69" y="0"/>
                    </a:lnTo>
                    <a:lnTo>
                      <a:pt x="87" y="3"/>
                    </a:lnTo>
                    <a:lnTo>
                      <a:pt x="104" y="9"/>
                    </a:lnTo>
                    <a:lnTo>
                      <a:pt x="118" y="21"/>
                    </a:lnTo>
                    <a:lnTo>
                      <a:pt x="129" y="34"/>
                    </a:lnTo>
                    <a:lnTo>
                      <a:pt x="136" y="51"/>
                    </a:lnTo>
                    <a:lnTo>
                      <a:pt x="139" y="69"/>
                    </a:lnTo>
                    <a:lnTo>
                      <a:pt x="139" y="276"/>
                    </a:lnTo>
                    <a:lnTo>
                      <a:pt x="136" y="296"/>
                    </a:lnTo>
                    <a:lnTo>
                      <a:pt x="129" y="311"/>
                    </a:lnTo>
                    <a:lnTo>
                      <a:pt x="118" y="326"/>
                    </a:lnTo>
                    <a:lnTo>
                      <a:pt x="104" y="336"/>
                    </a:lnTo>
                    <a:lnTo>
                      <a:pt x="87" y="343"/>
                    </a:lnTo>
                    <a:lnTo>
                      <a:pt x="69" y="345"/>
                    </a:lnTo>
                    <a:lnTo>
                      <a:pt x="51" y="343"/>
                    </a:lnTo>
                    <a:lnTo>
                      <a:pt x="34" y="336"/>
                    </a:lnTo>
                    <a:lnTo>
                      <a:pt x="20" y="326"/>
                    </a:lnTo>
                    <a:lnTo>
                      <a:pt x="9" y="311"/>
                    </a:lnTo>
                    <a:lnTo>
                      <a:pt x="2" y="296"/>
                    </a:lnTo>
                    <a:lnTo>
                      <a:pt x="0" y="276"/>
                    </a:lnTo>
                    <a:lnTo>
                      <a:pt x="0" y="69"/>
                    </a:lnTo>
                    <a:lnTo>
                      <a:pt x="2" y="51"/>
                    </a:lnTo>
                    <a:lnTo>
                      <a:pt x="9" y="34"/>
                    </a:lnTo>
                    <a:lnTo>
                      <a:pt x="20" y="21"/>
                    </a:lnTo>
                    <a:lnTo>
                      <a:pt x="34" y="9"/>
                    </a:lnTo>
                    <a:lnTo>
                      <a:pt x="51" y="3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5" name="Freeform 38">
                <a:extLst>
                  <a:ext uri="{FF2B5EF4-FFF2-40B4-BE49-F238E27FC236}">
                    <a16:creationId xmlns:a16="http://schemas.microsoft.com/office/drawing/2014/main" id="{E0ABEF3A-E856-47A2-A7B3-B87A395751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2550" y="3709988"/>
                <a:ext cx="55563" cy="73025"/>
              </a:xfrm>
              <a:custGeom>
                <a:avLst/>
                <a:gdLst>
                  <a:gd name="T0" fmla="*/ 70 w 244"/>
                  <a:gd name="T1" fmla="*/ 0 h 319"/>
                  <a:gd name="T2" fmla="*/ 88 w 244"/>
                  <a:gd name="T3" fmla="*/ 3 h 319"/>
                  <a:gd name="T4" fmla="*/ 104 w 244"/>
                  <a:gd name="T5" fmla="*/ 10 h 319"/>
                  <a:gd name="T6" fmla="*/ 119 w 244"/>
                  <a:gd name="T7" fmla="*/ 21 h 319"/>
                  <a:gd name="T8" fmla="*/ 130 w 244"/>
                  <a:gd name="T9" fmla="*/ 36 h 319"/>
                  <a:gd name="T10" fmla="*/ 235 w 244"/>
                  <a:gd name="T11" fmla="*/ 215 h 319"/>
                  <a:gd name="T12" fmla="*/ 241 w 244"/>
                  <a:gd name="T13" fmla="*/ 232 h 319"/>
                  <a:gd name="T14" fmla="*/ 244 w 244"/>
                  <a:gd name="T15" fmla="*/ 250 h 319"/>
                  <a:gd name="T16" fmla="*/ 241 w 244"/>
                  <a:gd name="T17" fmla="*/ 267 h 319"/>
                  <a:gd name="T18" fmla="*/ 235 w 244"/>
                  <a:gd name="T19" fmla="*/ 284 h 319"/>
                  <a:gd name="T20" fmla="*/ 224 w 244"/>
                  <a:gd name="T21" fmla="*/ 299 h 319"/>
                  <a:gd name="T22" fmla="*/ 210 w 244"/>
                  <a:gd name="T23" fmla="*/ 310 h 319"/>
                  <a:gd name="T24" fmla="*/ 193 w 244"/>
                  <a:gd name="T25" fmla="*/ 317 h 319"/>
                  <a:gd name="T26" fmla="*/ 174 w 244"/>
                  <a:gd name="T27" fmla="*/ 319 h 319"/>
                  <a:gd name="T28" fmla="*/ 156 w 244"/>
                  <a:gd name="T29" fmla="*/ 317 h 319"/>
                  <a:gd name="T30" fmla="*/ 140 w 244"/>
                  <a:gd name="T31" fmla="*/ 310 h 319"/>
                  <a:gd name="T32" fmla="*/ 125 w 244"/>
                  <a:gd name="T33" fmla="*/ 299 h 319"/>
                  <a:gd name="T34" fmla="*/ 114 w 244"/>
                  <a:gd name="T35" fmla="*/ 284 h 319"/>
                  <a:gd name="T36" fmla="*/ 9 w 244"/>
                  <a:gd name="T37" fmla="*/ 104 h 319"/>
                  <a:gd name="T38" fmla="*/ 3 w 244"/>
                  <a:gd name="T39" fmla="*/ 88 h 319"/>
                  <a:gd name="T40" fmla="*/ 0 w 244"/>
                  <a:gd name="T41" fmla="*/ 69 h 319"/>
                  <a:gd name="T42" fmla="*/ 3 w 244"/>
                  <a:gd name="T43" fmla="*/ 52 h 319"/>
                  <a:gd name="T44" fmla="*/ 9 w 244"/>
                  <a:gd name="T45" fmla="*/ 36 h 319"/>
                  <a:gd name="T46" fmla="*/ 21 w 244"/>
                  <a:gd name="T47" fmla="*/ 22 h 319"/>
                  <a:gd name="T48" fmla="*/ 34 w 244"/>
                  <a:gd name="T49" fmla="*/ 11 h 319"/>
                  <a:gd name="T50" fmla="*/ 53 w 244"/>
                  <a:gd name="T51" fmla="*/ 3 h 319"/>
                  <a:gd name="T52" fmla="*/ 70 w 244"/>
                  <a:gd name="T53" fmla="*/ 0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44" h="319">
                    <a:moveTo>
                      <a:pt x="70" y="0"/>
                    </a:moveTo>
                    <a:lnTo>
                      <a:pt x="88" y="3"/>
                    </a:lnTo>
                    <a:lnTo>
                      <a:pt x="104" y="10"/>
                    </a:lnTo>
                    <a:lnTo>
                      <a:pt x="119" y="21"/>
                    </a:lnTo>
                    <a:lnTo>
                      <a:pt x="130" y="36"/>
                    </a:lnTo>
                    <a:lnTo>
                      <a:pt x="235" y="215"/>
                    </a:lnTo>
                    <a:lnTo>
                      <a:pt x="241" y="232"/>
                    </a:lnTo>
                    <a:lnTo>
                      <a:pt x="244" y="250"/>
                    </a:lnTo>
                    <a:lnTo>
                      <a:pt x="241" y="267"/>
                    </a:lnTo>
                    <a:lnTo>
                      <a:pt x="235" y="284"/>
                    </a:lnTo>
                    <a:lnTo>
                      <a:pt x="224" y="299"/>
                    </a:lnTo>
                    <a:lnTo>
                      <a:pt x="210" y="310"/>
                    </a:lnTo>
                    <a:lnTo>
                      <a:pt x="193" y="317"/>
                    </a:lnTo>
                    <a:lnTo>
                      <a:pt x="174" y="319"/>
                    </a:lnTo>
                    <a:lnTo>
                      <a:pt x="156" y="317"/>
                    </a:lnTo>
                    <a:lnTo>
                      <a:pt x="140" y="310"/>
                    </a:lnTo>
                    <a:lnTo>
                      <a:pt x="125" y="299"/>
                    </a:lnTo>
                    <a:lnTo>
                      <a:pt x="114" y="284"/>
                    </a:lnTo>
                    <a:lnTo>
                      <a:pt x="9" y="104"/>
                    </a:lnTo>
                    <a:lnTo>
                      <a:pt x="3" y="88"/>
                    </a:lnTo>
                    <a:lnTo>
                      <a:pt x="0" y="69"/>
                    </a:lnTo>
                    <a:lnTo>
                      <a:pt x="3" y="52"/>
                    </a:lnTo>
                    <a:lnTo>
                      <a:pt x="9" y="36"/>
                    </a:lnTo>
                    <a:lnTo>
                      <a:pt x="21" y="22"/>
                    </a:lnTo>
                    <a:lnTo>
                      <a:pt x="34" y="11"/>
                    </a:lnTo>
                    <a:lnTo>
                      <a:pt x="53" y="3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6" name="Freeform 39">
                <a:extLst>
                  <a:ext uri="{FF2B5EF4-FFF2-40B4-BE49-F238E27FC236}">
                    <a16:creationId xmlns:a16="http://schemas.microsoft.com/office/drawing/2014/main" id="{DB6B9515-5960-4425-861D-82099482C3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2375" y="3840163"/>
                <a:ext cx="73025" cy="53975"/>
              </a:xfrm>
              <a:custGeom>
                <a:avLst/>
                <a:gdLst>
                  <a:gd name="T0" fmla="*/ 70 w 320"/>
                  <a:gd name="T1" fmla="*/ 0 h 242"/>
                  <a:gd name="T2" fmla="*/ 87 w 320"/>
                  <a:gd name="T3" fmla="*/ 3 h 242"/>
                  <a:gd name="T4" fmla="*/ 105 w 320"/>
                  <a:gd name="T5" fmla="*/ 9 h 242"/>
                  <a:gd name="T6" fmla="*/ 286 w 320"/>
                  <a:gd name="T7" fmla="*/ 112 h 242"/>
                  <a:gd name="T8" fmla="*/ 300 w 320"/>
                  <a:gd name="T9" fmla="*/ 125 h 242"/>
                  <a:gd name="T10" fmla="*/ 311 w 320"/>
                  <a:gd name="T11" fmla="*/ 138 h 242"/>
                  <a:gd name="T12" fmla="*/ 317 w 320"/>
                  <a:gd name="T13" fmla="*/ 155 h 242"/>
                  <a:gd name="T14" fmla="*/ 320 w 320"/>
                  <a:gd name="T15" fmla="*/ 172 h 242"/>
                  <a:gd name="T16" fmla="*/ 317 w 320"/>
                  <a:gd name="T17" fmla="*/ 190 h 242"/>
                  <a:gd name="T18" fmla="*/ 311 w 320"/>
                  <a:gd name="T19" fmla="*/ 207 h 242"/>
                  <a:gd name="T20" fmla="*/ 299 w 320"/>
                  <a:gd name="T21" fmla="*/ 222 h 242"/>
                  <a:gd name="T22" fmla="*/ 285 w 320"/>
                  <a:gd name="T23" fmla="*/ 233 h 242"/>
                  <a:gd name="T24" fmla="*/ 267 w 320"/>
                  <a:gd name="T25" fmla="*/ 240 h 242"/>
                  <a:gd name="T26" fmla="*/ 250 w 320"/>
                  <a:gd name="T27" fmla="*/ 242 h 242"/>
                  <a:gd name="T28" fmla="*/ 232 w 320"/>
                  <a:gd name="T29" fmla="*/ 240 h 242"/>
                  <a:gd name="T30" fmla="*/ 215 w 320"/>
                  <a:gd name="T31" fmla="*/ 232 h 242"/>
                  <a:gd name="T32" fmla="*/ 34 w 320"/>
                  <a:gd name="T33" fmla="*/ 129 h 242"/>
                  <a:gd name="T34" fmla="*/ 20 w 320"/>
                  <a:gd name="T35" fmla="*/ 118 h 242"/>
                  <a:gd name="T36" fmla="*/ 9 w 320"/>
                  <a:gd name="T37" fmla="*/ 103 h 242"/>
                  <a:gd name="T38" fmla="*/ 3 w 320"/>
                  <a:gd name="T39" fmla="*/ 87 h 242"/>
                  <a:gd name="T40" fmla="*/ 0 w 320"/>
                  <a:gd name="T41" fmla="*/ 69 h 242"/>
                  <a:gd name="T42" fmla="*/ 3 w 320"/>
                  <a:gd name="T43" fmla="*/ 51 h 242"/>
                  <a:gd name="T44" fmla="*/ 9 w 320"/>
                  <a:gd name="T45" fmla="*/ 34 h 242"/>
                  <a:gd name="T46" fmla="*/ 21 w 320"/>
                  <a:gd name="T47" fmla="*/ 20 h 242"/>
                  <a:gd name="T48" fmla="*/ 35 w 320"/>
                  <a:gd name="T49" fmla="*/ 9 h 242"/>
                  <a:gd name="T50" fmla="*/ 51 w 320"/>
                  <a:gd name="T51" fmla="*/ 3 h 242"/>
                  <a:gd name="T52" fmla="*/ 70 w 320"/>
                  <a:gd name="T53" fmla="*/ 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0" h="242">
                    <a:moveTo>
                      <a:pt x="70" y="0"/>
                    </a:moveTo>
                    <a:lnTo>
                      <a:pt x="87" y="3"/>
                    </a:lnTo>
                    <a:lnTo>
                      <a:pt x="105" y="9"/>
                    </a:lnTo>
                    <a:lnTo>
                      <a:pt x="286" y="112"/>
                    </a:lnTo>
                    <a:lnTo>
                      <a:pt x="300" y="125"/>
                    </a:lnTo>
                    <a:lnTo>
                      <a:pt x="311" y="138"/>
                    </a:lnTo>
                    <a:lnTo>
                      <a:pt x="317" y="155"/>
                    </a:lnTo>
                    <a:lnTo>
                      <a:pt x="320" y="172"/>
                    </a:lnTo>
                    <a:lnTo>
                      <a:pt x="317" y="190"/>
                    </a:lnTo>
                    <a:lnTo>
                      <a:pt x="311" y="207"/>
                    </a:lnTo>
                    <a:lnTo>
                      <a:pt x="299" y="222"/>
                    </a:lnTo>
                    <a:lnTo>
                      <a:pt x="285" y="233"/>
                    </a:lnTo>
                    <a:lnTo>
                      <a:pt x="267" y="240"/>
                    </a:lnTo>
                    <a:lnTo>
                      <a:pt x="250" y="242"/>
                    </a:lnTo>
                    <a:lnTo>
                      <a:pt x="232" y="240"/>
                    </a:lnTo>
                    <a:lnTo>
                      <a:pt x="215" y="232"/>
                    </a:lnTo>
                    <a:lnTo>
                      <a:pt x="34" y="129"/>
                    </a:lnTo>
                    <a:lnTo>
                      <a:pt x="20" y="118"/>
                    </a:lnTo>
                    <a:lnTo>
                      <a:pt x="9" y="103"/>
                    </a:lnTo>
                    <a:lnTo>
                      <a:pt x="3" y="87"/>
                    </a:lnTo>
                    <a:lnTo>
                      <a:pt x="0" y="69"/>
                    </a:lnTo>
                    <a:lnTo>
                      <a:pt x="3" y="51"/>
                    </a:lnTo>
                    <a:lnTo>
                      <a:pt x="9" y="34"/>
                    </a:lnTo>
                    <a:lnTo>
                      <a:pt x="21" y="20"/>
                    </a:lnTo>
                    <a:lnTo>
                      <a:pt x="35" y="9"/>
                    </a:lnTo>
                    <a:lnTo>
                      <a:pt x="51" y="3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7" name="Freeform 40">
                <a:extLst>
                  <a:ext uri="{FF2B5EF4-FFF2-40B4-BE49-F238E27FC236}">
                    <a16:creationId xmlns:a16="http://schemas.microsoft.com/office/drawing/2014/main" id="{CEC65B6F-07E6-4E82-98BF-348BF299AE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4750" y="4016375"/>
                <a:ext cx="79375" cy="31750"/>
              </a:xfrm>
              <a:custGeom>
                <a:avLst/>
                <a:gdLst>
                  <a:gd name="T0" fmla="*/ 69 w 348"/>
                  <a:gd name="T1" fmla="*/ 0 h 139"/>
                  <a:gd name="T2" fmla="*/ 278 w 348"/>
                  <a:gd name="T3" fmla="*/ 0 h 139"/>
                  <a:gd name="T4" fmla="*/ 297 w 348"/>
                  <a:gd name="T5" fmla="*/ 4 h 139"/>
                  <a:gd name="T6" fmla="*/ 314 w 348"/>
                  <a:gd name="T7" fmla="*/ 10 h 139"/>
                  <a:gd name="T8" fmla="*/ 327 w 348"/>
                  <a:gd name="T9" fmla="*/ 21 h 139"/>
                  <a:gd name="T10" fmla="*/ 339 w 348"/>
                  <a:gd name="T11" fmla="*/ 35 h 139"/>
                  <a:gd name="T12" fmla="*/ 346 w 348"/>
                  <a:gd name="T13" fmla="*/ 51 h 139"/>
                  <a:gd name="T14" fmla="*/ 348 w 348"/>
                  <a:gd name="T15" fmla="*/ 70 h 139"/>
                  <a:gd name="T16" fmla="*/ 346 w 348"/>
                  <a:gd name="T17" fmla="*/ 88 h 139"/>
                  <a:gd name="T18" fmla="*/ 339 w 348"/>
                  <a:gd name="T19" fmla="*/ 104 h 139"/>
                  <a:gd name="T20" fmla="*/ 327 w 348"/>
                  <a:gd name="T21" fmla="*/ 119 h 139"/>
                  <a:gd name="T22" fmla="*/ 314 w 348"/>
                  <a:gd name="T23" fmla="*/ 129 h 139"/>
                  <a:gd name="T24" fmla="*/ 297 w 348"/>
                  <a:gd name="T25" fmla="*/ 137 h 139"/>
                  <a:gd name="T26" fmla="*/ 278 w 348"/>
                  <a:gd name="T27" fmla="*/ 139 h 139"/>
                  <a:gd name="T28" fmla="*/ 69 w 348"/>
                  <a:gd name="T29" fmla="*/ 139 h 139"/>
                  <a:gd name="T30" fmla="*/ 51 w 348"/>
                  <a:gd name="T31" fmla="*/ 137 h 139"/>
                  <a:gd name="T32" fmla="*/ 35 w 348"/>
                  <a:gd name="T33" fmla="*/ 129 h 139"/>
                  <a:gd name="T34" fmla="*/ 20 w 348"/>
                  <a:gd name="T35" fmla="*/ 119 h 139"/>
                  <a:gd name="T36" fmla="*/ 10 w 348"/>
                  <a:gd name="T37" fmla="*/ 104 h 139"/>
                  <a:gd name="T38" fmla="*/ 2 w 348"/>
                  <a:gd name="T39" fmla="*/ 88 h 139"/>
                  <a:gd name="T40" fmla="*/ 0 w 348"/>
                  <a:gd name="T41" fmla="*/ 70 h 139"/>
                  <a:gd name="T42" fmla="*/ 2 w 348"/>
                  <a:gd name="T43" fmla="*/ 51 h 139"/>
                  <a:gd name="T44" fmla="*/ 10 w 348"/>
                  <a:gd name="T45" fmla="*/ 35 h 139"/>
                  <a:gd name="T46" fmla="*/ 20 w 348"/>
                  <a:gd name="T47" fmla="*/ 21 h 139"/>
                  <a:gd name="T48" fmla="*/ 35 w 348"/>
                  <a:gd name="T49" fmla="*/ 10 h 139"/>
                  <a:gd name="T50" fmla="*/ 51 w 348"/>
                  <a:gd name="T51" fmla="*/ 4 h 139"/>
                  <a:gd name="T52" fmla="*/ 69 w 348"/>
                  <a:gd name="T53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48" h="139">
                    <a:moveTo>
                      <a:pt x="69" y="0"/>
                    </a:moveTo>
                    <a:lnTo>
                      <a:pt x="278" y="0"/>
                    </a:lnTo>
                    <a:lnTo>
                      <a:pt x="297" y="4"/>
                    </a:lnTo>
                    <a:lnTo>
                      <a:pt x="314" y="10"/>
                    </a:lnTo>
                    <a:lnTo>
                      <a:pt x="327" y="21"/>
                    </a:lnTo>
                    <a:lnTo>
                      <a:pt x="339" y="35"/>
                    </a:lnTo>
                    <a:lnTo>
                      <a:pt x="346" y="51"/>
                    </a:lnTo>
                    <a:lnTo>
                      <a:pt x="348" y="70"/>
                    </a:lnTo>
                    <a:lnTo>
                      <a:pt x="346" y="88"/>
                    </a:lnTo>
                    <a:lnTo>
                      <a:pt x="339" y="104"/>
                    </a:lnTo>
                    <a:lnTo>
                      <a:pt x="327" y="119"/>
                    </a:lnTo>
                    <a:lnTo>
                      <a:pt x="314" y="129"/>
                    </a:lnTo>
                    <a:lnTo>
                      <a:pt x="297" y="137"/>
                    </a:lnTo>
                    <a:lnTo>
                      <a:pt x="278" y="139"/>
                    </a:lnTo>
                    <a:lnTo>
                      <a:pt x="69" y="139"/>
                    </a:lnTo>
                    <a:lnTo>
                      <a:pt x="51" y="137"/>
                    </a:lnTo>
                    <a:lnTo>
                      <a:pt x="35" y="129"/>
                    </a:lnTo>
                    <a:lnTo>
                      <a:pt x="20" y="119"/>
                    </a:lnTo>
                    <a:lnTo>
                      <a:pt x="10" y="104"/>
                    </a:lnTo>
                    <a:lnTo>
                      <a:pt x="2" y="88"/>
                    </a:lnTo>
                    <a:lnTo>
                      <a:pt x="0" y="70"/>
                    </a:lnTo>
                    <a:lnTo>
                      <a:pt x="2" y="51"/>
                    </a:lnTo>
                    <a:lnTo>
                      <a:pt x="10" y="35"/>
                    </a:lnTo>
                    <a:lnTo>
                      <a:pt x="20" y="21"/>
                    </a:lnTo>
                    <a:lnTo>
                      <a:pt x="35" y="10"/>
                    </a:lnTo>
                    <a:lnTo>
                      <a:pt x="51" y="4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8" name="Freeform 41">
                <a:extLst>
                  <a:ext uri="{FF2B5EF4-FFF2-40B4-BE49-F238E27FC236}">
                    <a16:creationId xmlns:a16="http://schemas.microsoft.com/office/drawing/2014/main" id="{3CBD629B-7246-4462-9EB1-9ACCAA0304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2375" y="4168775"/>
                <a:ext cx="73025" cy="55563"/>
              </a:xfrm>
              <a:custGeom>
                <a:avLst/>
                <a:gdLst>
                  <a:gd name="T0" fmla="*/ 250 w 320"/>
                  <a:gd name="T1" fmla="*/ 0 h 243"/>
                  <a:gd name="T2" fmla="*/ 269 w 320"/>
                  <a:gd name="T3" fmla="*/ 4 h 243"/>
                  <a:gd name="T4" fmla="*/ 285 w 320"/>
                  <a:gd name="T5" fmla="*/ 9 h 243"/>
                  <a:gd name="T6" fmla="*/ 299 w 320"/>
                  <a:gd name="T7" fmla="*/ 21 h 243"/>
                  <a:gd name="T8" fmla="*/ 311 w 320"/>
                  <a:gd name="T9" fmla="*/ 35 h 243"/>
                  <a:gd name="T10" fmla="*/ 317 w 320"/>
                  <a:gd name="T11" fmla="*/ 52 h 243"/>
                  <a:gd name="T12" fmla="*/ 320 w 320"/>
                  <a:gd name="T13" fmla="*/ 70 h 243"/>
                  <a:gd name="T14" fmla="*/ 317 w 320"/>
                  <a:gd name="T15" fmla="*/ 87 h 243"/>
                  <a:gd name="T16" fmla="*/ 311 w 320"/>
                  <a:gd name="T17" fmla="*/ 104 h 243"/>
                  <a:gd name="T18" fmla="*/ 299 w 320"/>
                  <a:gd name="T19" fmla="*/ 119 h 243"/>
                  <a:gd name="T20" fmla="*/ 286 w 320"/>
                  <a:gd name="T21" fmla="*/ 130 h 243"/>
                  <a:gd name="T22" fmla="*/ 105 w 320"/>
                  <a:gd name="T23" fmla="*/ 233 h 243"/>
                  <a:gd name="T24" fmla="*/ 88 w 320"/>
                  <a:gd name="T25" fmla="*/ 240 h 243"/>
                  <a:gd name="T26" fmla="*/ 70 w 320"/>
                  <a:gd name="T27" fmla="*/ 243 h 243"/>
                  <a:gd name="T28" fmla="*/ 51 w 320"/>
                  <a:gd name="T29" fmla="*/ 240 h 243"/>
                  <a:gd name="T30" fmla="*/ 35 w 320"/>
                  <a:gd name="T31" fmla="*/ 234 h 243"/>
                  <a:gd name="T32" fmla="*/ 21 w 320"/>
                  <a:gd name="T33" fmla="*/ 223 h 243"/>
                  <a:gd name="T34" fmla="*/ 9 w 320"/>
                  <a:gd name="T35" fmla="*/ 208 h 243"/>
                  <a:gd name="T36" fmla="*/ 3 w 320"/>
                  <a:gd name="T37" fmla="*/ 191 h 243"/>
                  <a:gd name="T38" fmla="*/ 0 w 320"/>
                  <a:gd name="T39" fmla="*/ 173 h 243"/>
                  <a:gd name="T40" fmla="*/ 3 w 320"/>
                  <a:gd name="T41" fmla="*/ 156 h 243"/>
                  <a:gd name="T42" fmla="*/ 9 w 320"/>
                  <a:gd name="T43" fmla="*/ 139 h 243"/>
                  <a:gd name="T44" fmla="*/ 20 w 320"/>
                  <a:gd name="T45" fmla="*/ 126 h 243"/>
                  <a:gd name="T46" fmla="*/ 34 w 320"/>
                  <a:gd name="T47" fmla="*/ 114 h 243"/>
                  <a:gd name="T48" fmla="*/ 215 w 320"/>
                  <a:gd name="T49" fmla="*/ 10 h 243"/>
                  <a:gd name="T50" fmla="*/ 233 w 320"/>
                  <a:gd name="T51" fmla="*/ 3 h 243"/>
                  <a:gd name="T52" fmla="*/ 250 w 320"/>
                  <a:gd name="T53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0" h="243">
                    <a:moveTo>
                      <a:pt x="250" y="0"/>
                    </a:moveTo>
                    <a:lnTo>
                      <a:pt x="269" y="4"/>
                    </a:lnTo>
                    <a:lnTo>
                      <a:pt x="285" y="9"/>
                    </a:lnTo>
                    <a:lnTo>
                      <a:pt x="299" y="21"/>
                    </a:lnTo>
                    <a:lnTo>
                      <a:pt x="311" y="35"/>
                    </a:lnTo>
                    <a:lnTo>
                      <a:pt x="317" y="52"/>
                    </a:lnTo>
                    <a:lnTo>
                      <a:pt x="320" y="70"/>
                    </a:lnTo>
                    <a:lnTo>
                      <a:pt x="317" y="87"/>
                    </a:lnTo>
                    <a:lnTo>
                      <a:pt x="311" y="104"/>
                    </a:lnTo>
                    <a:lnTo>
                      <a:pt x="299" y="119"/>
                    </a:lnTo>
                    <a:lnTo>
                      <a:pt x="286" y="130"/>
                    </a:lnTo>
                    <a:lnTo>
                      <a:pt x="105" y="233"/>
                    </a:lnTo>
                    <a:lnTo>
                      <a:pt x="88" y="240"/>
                    </a:lnTo>
                    <a:lnTo>
                      <a:pt x="70" y="243"/>
                    </a:lnTo>
                    <a:lnTo>
                      <a:pt x="51" y="240"/>
                    </a:lnTo>
                    <a:lnTo>
                      <a:pt x="35" y="234"/>
                    </a:lnTo>
                    <a:lnTo>
                      <a:pt x="21" y="223"/>
                    </a:lnTo>
                    <a:lnTo>
                      <a:pt x="9" y="208"/>
                    </a:lnTo>
                    <a:lnTo>
                      <a:pt x="3" y="191"/>
                    </a:lnTo>
                    <a:lnTo>
                      <a:pt x="0" y="173"/>
                    </a:lnTo>
                    <a:lnTo>
                      <a:pt x="3" y="156"/>
                    </a:lnTo>
                    <a:lnTo>
                      <a:pt x="9" y="139"/>
                    </a:lnTo>
                    <a:lnTo>
                      <a:pt x="20" y="126"/>
                    </a:lnTo>
                    <a:lnTo>
                      <a:pt x="34" y="114"/>
                    </a:lnTo>
                    <a:lnTo>
                      <a:pt x="215" y="10"/>
                    </a:lnTo>
                    <a:lnTo>
                      <a:pt x="233" y="3"/>
                    </a:lnTo>
                    <a:lnTo>
                      <a:pt x="25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9" name="Freeform 42">
                <a:extLst>
                  <a:ext uri="{FF2B5EF4-FFF2-40B4-BE49-F238E27FC236}">
                    <a16:creationId xmlns:a16="http://schemas.microsoft.com/office/drawing/2014/main" id="{C35B5FC9-4D55-4576-ACB4-6585520CE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7050" y="4168775"/>
                <a:ext cx="71438" cy="55563"/>
              </a:xfrm>
              <a:custGeom>
                <a:avLst/>
                <a:gdLst>
                  <a:gd name="T0" fmla="*/ 69 w 319"/>
                  <a:gd name="T1" fmla="*/ 0 h 243"/>
                  <a:gd name="T2" fmla="*/ 87 w 319"/>
                  <a:gd name="T3" fmla="*/ 3 h 243"/>
                  <a:gd name="T4" fmla="*/ 104 w 319"/>
                  <a:gd name="T5" fmla="*/ 10 h 243"/>
                  <a:gd name="T6" fmla="*/ 285 w 319"/>
                  <a:gd name="T7" fmla="*/ 114 h 243"/>
                  <a:gd name="T8" fmla="*/ 300 w 319"/>
                  <a:gd name="T9" fmla="*/ 126 h 243"/>
                  <a:gd name="T10" fmla="*/ 310 w 319"/>
                  <a:gd name="T11" fmla="*/ 139 h 243"/>
                  <a:gd name="T12" fmla="*/ 317 w 319"/>
                  <a:gd name="T13" fmla="*/ 156 h 243"/>
                  <a:gd name="T14" fmla="*/ 319 w 319"/>
                  <a:gd name="T15" fmla="*/ 173 h 243"/>
                  <a:gd name="T16" fmla="*/ 317 w 319"/>
                  <a:gd name="T17" fmla="*/ 191 h 243"/>
                  <a:gd name="T18" fmla="*/ 310 w 319"/>
                  <a:gd name="T19" fmla="*/ 208 h 243"/>
                  <a:gd name="T20" fmla="*/ 299 w 319"/>
                  <a:gd name="T21" fmla="*/ 223 h 243"/>
                  <a:gd name="T22" fmla="*/ 284 w 319"/>
                  <a:gd name="T23" fmla="*/ 234 h 243"/>
                  <a:gd name="T24" fmla="*/ 268 w 319"/>
                  <a:gd name="T25" fmla="*/ 240 h 243"/>
                  <a:gd name="T26" fmla="*/ 250 w 319"/>
                  <a:gd name="T27" fmla="*/ 243 h 243"/>
                  <a:gd name="T28" fmla="*/ 232 w 319"/>
                  <a:gd name="T29" fmla="*/ 240 h 243"/>
                  <a:gd name="T30" fmla="*/ 215 w 319"/>
                  <a:gd name="T31" fmla="*/ 233 h 243"/>
                  <a:gd name="T32" fmla="*/ 34 w 319"/>
                  <a:gd name="T33" fmla="*/ 130 h 243"/>
                  <a:gd name="T34" fmla="*/ 20 w 319"/>
                  <a:gd name="T35" fmla="*/ 119 h 243"/>
                  <a:gd name="T36" fmla="*/ 9 w 319"/>
                  <a:gd name="T37" fmla="*/ 104 h 243"/>
                  <a:gd name="T38" fmla="*/ 2 w 319"/>
                  <a:gd name="T39" fmla="*/ 87 h 243"/>
                  <a:gd name="T40" fmla="*/ 0 w 319"/>
                  <a:gd name="T41" fmla="*/ 70 h 243"/>
                  <a:gd name="T42" fmla="*/ 2 w 319"/>
                  <a:gd name="T43" fmla="*/ 52 h 243"/>
                  <a:gd name="T44" fmla="*/ 9 w 319"/>
                  <a:gd name="T45" fmla="*/ 35 h 243"/>
                  <a:gd name="T46" fmla="*/ 20 w 319"/>
                  <a:gd name="T47" fmla="*/ 21 h 243"/>
                  <a:gd name="T48" fmla="*/ 35 w 319"/>
                  <a:gd name="T49" fmla="*/ 9 h 243"/>
                  <a:gd name="T50" fmla="*/ 51 w 319"/>
                  <a:gd name="T51" fmla="*/ 4 h 243"/>
                  <a:gd name="T52" fmla="*/ 69 w 319"/>
                  <a:gd name="T53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19" h="243">
                    <a:moveTo>
                      <a:pt x="69" y="0"/>
                    </a:moveTo>
                    <a:lnTo>
                      <a:pt x="87" y="3"/>
                    </a:lnTo>
                    <a:lnTo>
                      <a:pt x="104" y="10"/>
                    </a:lnTo>
                    <a:lnTo>
                      <a:pt x="285" y="114"/>
                    </a:lnTo>
                    <a:lnTo>
                      <a:pt x="300" y="126"/>
                    </a:lnTo>
                    <a:lnTo>
                      <a:pt x="310" y="139"/>
                    </a:lnTo>
                    <a:lnTo>
                      <a:pt x="317" y="156"/>
                    </a:lnTo>
                    <a:lnTo>
                      <a:pt x="319" y="173"/>
                    </a:lnTo>
                    <a:lnTo>
                      <a:pt x="317" y="191"/>
                    </a:lnTo>
                    <a:lnTo>
                      <a:pt x="310" y="208"/>
                    </a:lnTo>
                    <a:lnTo>
                      <a:pt x="299" y="223"/>
                    </a:lnTo>
                    <a:lnTo>
                      <a:pt x="284" y="234"/>
                    </a:lnTo>
                    <a:lnTo>
                      <a:pt x="268" y="240"/>
                    </a:lnTo>
                    <a:lnTo>
                      <a:pt x="250" y="243"/>
                    </a:lnTo>
                    <a:lnTo>
                      <a:pt x="232" y="240"/>
                    </a:lnTo>
                    <a:lnTo>
                      <a:pt x="215" y="233"/>
                    </a:lnTo>
                    <a:lnTo>
                      <a:pt x="34" y="130"/>
                    </a:lnTo>
                    <a:lnTo>
                      <a:pt x="20" y="119"/>
                    </a:lnTo>
                    <a:lnTo>
                      <a:pt x="9" y="104"/>
                    </a:lnTo>
                    <a:lnTo>
                      <a:pt x="2" y="87"/>
                    </a:lnTo>
                    <a:lnTo>
                      <a:pt x="0" y="70"/>
                    </a:lnTo>
                    <a:lnTo>
                      <a:pt x="2" y="52"/>
                    </a:lnTo>
                    <a:lnTo>
                      <a:pt x="9" y="35"/>
                    </a:lnTo>
                    <a:lnTo>
                      <a:pt x="20" y="21"/>
                    </a:lnTo>
                    <a:lnTo>
                      <a:pt x="35" y="9"/>
                    </a:lnTo>
                    <a:lnTo>
                      <a:pt x="51" y="4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0" name="Freeform 43">
                <a:extLst>
                  <a:ext uri="{FF2B5EF4-FFF2-40B4-BE49-F238E27FC236}">
                    <a16:creationId xmlns:a16="http://schemas.microsoft.com/office/drawing/2014/main" id="{F76D847A-4D2C-45F6-B495-DE05DBB8F1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8325" y="4016375"/>
                <a:ext cx="77788" cy="31750"/>
              </a:xfrm>
              <a:custGeom>
                <a:avLst/>
                <a:gdLst>
                  <a:gd name="T0" fmla="*/ 69 w 347"/>
                  <a:gd name="T1" fmla="*/ 0 h 139"/>
                  <a:gd name="T2" fmla="*/ 278 w 347"/>
                  <a:gd name="T3" fmla="*/ 0 h 139"/>
                  <a:gd name="T4" fmla="*/ 296 w 347"/>
                  <a:gd name="T5" fmla="*/ 4 h 139"/>
                  <a:gd name="T6" fmla="*/ 313 w 347"/>
                  <a:gd name="T7" fmla="*/ 10 h 139"/>
                  <a:gd name="T8" fmla="*/ 327 w 347"/>
                  <a:gd name="T9" fmla="*/ 21 h 139"/>
                  <a:gd name="T10" fmla="*/ 337 w 347"/>
                  <a:gd name="T11" fmla="*/ 35 h 139"/>
                  <a:gd name="T12" fmla="*/ 345 w 347"/>
                  <a:gd name="T13" fmla="*/ 51 h 139"/>
                  <a:gd name="T14" fmla="*/ 347 w 347"/>
                  <a:gd name="T15" fmla="*/ 70 h 139"/>
                  <a:gd name="T16" fmla="*/ 345 w 347"/>
                  <a:gd name="T17" fmla="*/ 88 h 139"/>
                  <a:gd name="T18" fmla="*/ 337 w 347"/>
                  <a:gd name="T19" fmla="*/ 104 h 139"/>
                  <a:gd name="T20" fmla="*/ 327 w 347"/>
                  <a:gd name="T21" fmla="*/ 119 h 139"/>
                  <a:gd name="T22" fmla="*/ 313 w 347"/>
                  <a:gd name="T23" fmla="*/ 129 h 139"/>
                  <a:gd name="T24" fmla="*/ 296 w 347"/>
                  <a:gd name="T25" fmla="*/ 137 h 139"/>
                  <a:gd name="T26" fmla="*/ 278 w 347"/>
                  <a:gd name="T27" fmla="*/ 139 h 139"/>
                  <a:gd name="T28" fmla="*/ 69 w 347"/>
                  <a:gd name="T29" fmla="*/ 139 h 139"/>
                  <a:gd name="T30" fmla="*/ 51 w 347"/>
                  <a:gd name="T31" fmla="*/ 137 h 139"/>
                  <a:gd name="T32" fmla="*/ 34 w 347"/>
                  <a:gd name="T33" fmla="*/ 129 h 139"/>
                  <a:gd name="T34" fmla="*/ 20 w 347"/>
                  <a:gd name="T35" fmla="*/ 119 h 139"/>
                  <a:gd name="T36" fmla="*/ 9 w 347"/>
                  <a:gd name="T37" fmla="*/ 104 h 139"/>
                  <a:gd name="T38" fmla="*/ 2 w 347"/>
                  <a:gd name="T39" fmla="*/ 88 h 139"/>
                  <a:gd name="T40" fmla="*/ 0 w 347"/>
                  <a:gd name="T41" fmla="*/ 70 h 139"/>
                  <a:gd name="T42" fmla="*/ 2 w 347"/>
                  <a:gd name="T43" fmla="*/ 51 h 139"/>
                  <a:gd name="T44" fmla="*/ 9 w 347"/>
                  <a:gd name="T45" fmla="*/ 35 h 139"/>
                  <a:gd name="T46" fmla="*/ 20 w 347"/>
                  <a:gd name="T47" fmla="*/ 21 h 139"/>
                  <a:gd name="T48" fmla="*/ 34 w 347"/>
                  <a:gd name="T49" fmla="*/ 10 h 139"/>
                  <a:gd name="T50" fmla="*/ 51 w 347"/>
                  <a:gd name="T51" fmla="*/ 4 h 139"/>
                  <a:gd name="T52" fmla="*/ 69 w 347"/>
                  <a:gd name="T53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47" h="139">
                    <a:moveTo>
                      <a:pt x="69" y="0"/>
                    </a:moveTo>
                    <a:lnTo>
                      <a:pt x="278" y="0"/>
                    </a:lnTo>
                    <a:lnTo>
                      <a:pt x="296" y="4"/>
                    </a:lnTo>
                    <a:lnTo>
                      <a:pt x="313" y="10"/>
                    </a:lnTo>
                    <a:lnTo>
                      <a:pt x="327" y="21"/>
                    </a:lnTo>
                    <a:lnTo>
                      <a:pt x="337" y="35"/>
                    </a:lnTo>
                    <a:lnTo>
                      <a:pt x="345" y="51"/>
                    </a:lnTo>
                    <a:lnTo>
                      <a:pt x="347" y="70"/>
                    </a:lnTo>
                    <a:lnTo>
                      <a:pt x="345" y="88"/>
                    </a:lnTo>
                    <a:lnTo>
                      <a:pt x="337" y="104"/>
                    </a:lnTo>
                    <a:lnTo>
                      <a:pt x="327" y="119"/>
                    </a:lnTo>
                    <a:lnTo>
                      <a:pt x="313" y="129"/>
                    </a:lnTo>
                    <a:lnTo>
                      <a:pt x="296" y="137"/>
                    </a:lnTo>
                    <a:lnTo>
                      <a:pt x="278" y="139"/>
                    </a:lnTo>
                    <a:lnTo>
                      <a:pt x="69" y="139"/>
                    </a:lnTo>
                    <a:lnTo>
                      <a:pt x="51" y="137"/>
                    </a:lnTo>
                    <a:lnTo>
                      <a:pt x="34" y="129"/>
                    </a:lnTo>
                    <a:lnTo>
                      <a:pt x="20" y="119"/>
                    </a:lnTo>
                    <a:lnTo>
                      <a:pt x="9" y="104"/>
                    </a:lnTo>
                    <a:lnTo>
                      <a:pt x="2" y="88"/>
                    </a:lnTo>
                    <a:lnTo>
                      <a:pt x="0" y="70"/>
                    </a:lnTo>
                    <a:lnTo>
                      <a:pt x="2" y="51"/>
                    </a:lnTo>
                    <a:lnTo>
                      <a:pt x="9" y="35"/>
                    </a:lnTo>
                    <a:lnTo>
                      <a:pt x="20" y="21"/>
                    </a:lnTo>
                    <a:lnTo>
                      <a:pt x="34" y="10"/>
                    </a:lnTo>
                    <a:lnTo>
                      <a:pt x="51" y="4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1" name="Freeform 44">
                <a:extLst>
                  <a:ext uri="{FF2B5EF4-FFF2-40B4-BE49-F238E27FC236}">
                    <a16:creationId xmlns:a16="http://schemas.microsoft.com/office/drawing/2014/main" id="{960C20BA-C81E-4FB9-BECC-2A5022D2A7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7050" y="3840163"/>
                <a:ext cx="71438" cy="53975"/>
              </a:xfrm>
              <a:custGeom>
                <a:avLst/>
                <a:gdLst>
                  <a:gd name="T0" fmla="*/ 250 w 319"/>
                  <a:gd name="T1" fmla="*/ 0 h 242"/>
                  <a:gd name="T2" fmla="*/ 268 w 319"/>
                  <a:gd name="T3" fmla="*/ 3 h 242"/>
                  <a:gd name="T4" fmla="*/ 284 w 319"/>
                  <a:gd name="T5" fmla="*/ 9 h 242"/>
                  <a:gd name="T6" fmla="*/ 299 w 319"/>
                  <a:gd name="T7" fmla="*/ 20 h 242"/>
                  <a:gd name="T8" fmla="*/ 310 w 319"/>
                  <a:gd name="T9" fmla="*/ 34 h 242"/>
                  <a:gd name="T10" fmla="*/ 317 w 319"/>
                  <a:gd name="T11" fmla="*/ 51 h 242"/>
                  <a:gd name="T12" fmla="*/ 319 w 319"/>
                  <a:gd name="T13" fmla="*/ 69 h 242"/>
                  <a:gd name="T14" fmla="*/ 317 w 319"/>
                  <a:gd name="T15" fmla="*/ 87 h 242"/>
                  <a:gd name="T16" fmla="*/ 310 w 319"/>
                  <a:gd name="T17" fmla="*/ 103 h 242"/>
                  <a:gd name="T18" fmla="*/ 300 w 319"/>
                  <a:gd name="T19" fmla="*/ 118 h 242"/>
                  <a:gd name="T20" fmla="*/ 285 w 319"/>
                  <a:gd name="T21" fmla="*/ 129 h 242"/>
                  <a:gd name="T22" fmla="*/ 104 w 319"/>
                  <a:gd name="T23" fmla="*/ 232 h 242"/>
                  <a:gd name="T24" fmla="*/ 87 w 319"/>
                  <a:gd name="T25" fmla="*/ 240 h 242"/>
                  <a:gd name="T26" fmla="*/ 69 w 319"/>
                  <a:gd name="T27" fmla="*/ 242 h 242"/>
                  <a:gd name="T28" fmla="*/ 52 w 319"/>
                  <a:gd name="T29" fmla="*/ 240 h 242"/>
                  <a:gd name="T30" fmla="*/ 35 w 319"/>
                  <a:gd name="T31" fmla="*/ 233 h 242"/>
                  <a:gd name="T32" fmla="*/ 20 w 319"/>
                  <a:gd name="T33" fmla="*/ 222 h 242"/>
                  <a:gd name="T34" fmla="*/ 9 w 319"/>
                  <a:gd name="T35" fmla="*/ 207 h 242"/>
                  <a:gd name="T36" fmla="*/ 2 w 319"/>
                  <a:gd name="T37" fmla="*/ 190 h 242"/>
                  <a:gd name="T38" fmla="*/ 0 w 319"/>
                  <a:gd name="T39" fmla="*/ 172 h 242"/>
                  <a:gd name="T40" fmla="*/ 2 w 319"/>
                  <a:gd name="T41" fmla="*/ 155 h 242"/>
                  <a:gd name="T42" fmla="*/ 9 w 319"/>
                  <a:gd name="T43" fmla="*/ 138 h 242"/>
                  <a:gd name="T44" fmla="*/ 20 w 319"/>
                  <a:gd name="T45" fmla="*/ 125 h 242"/>
                  <a:gd name="T46" fmla="*/ 34 w 319"/>
                  <a:gd name="T47" fmla="*/ 112 h 242"/>
                  <a:gd name="T48" fmla="*/ 215 w 319"/>
                  <a:gd name="T49" fmla="*/ 9 h 242"/>
                  <a:gd name="T50" fmla="*/ 233 w 319"/>
                  <a:gd name="T51" fmla="*/ 3 h 242"/>
                  <a:gd name="T52" fmla="*/ 250 w 319"/>
                  <a:gd name="T53" fmla="*/ 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19" h="242">
                    <a:moveTo>
                      <a:pt x="250" y="0"/>
                    </a:moveTo>
                    <a:lnTo>
                      <a:pt x="268" y="3"/>
                    </a:lnTo>
                    <a:lnTo>
                      <a:pt x="284" y="9"/>
                    </a:lnTo>
                    <a:lnTo>
                      <a:pt x="299" y="20"/>
                    </a:lnTo>
                    <a:lnTo>
                      <a:pt x="310" y="34"/>
                    </a:lnTo>
                    <a:lnTo>
                      <a:pt x="317" y="51"/>
                    </a:lnTo>
                    <a:lnTo>
                      <a:pt x="319" y="69"/>
                    </a:lnTo>
                    <a:lnTo>
                      <a:pt x="317" y="87"/>
                    </a:lnTo>
                    <a:lnTo>
                      <a:pt x="310" y="103"/>
                    </a:lnTo>
                    <a:lnTo>
                      <a:pt x="300" y="118"/>
                    </a:lnTo>
                    <a:lnTo>
                      <a:pt x="285" y="129"/>
                    </a:lnTo>
                    <a:lnTo>
                      <a:pt x="104" y="232"/>
                    </a:lnTo>
                    <a:lnTo>
                      <a:pt x="87" y="240"/>
                    </a:lnTo>
                    <a:lnTo>
                      <a:pt x="69" y="242"/>
                    </a:lnTo>
                    <a:lnTo>
                      <a:pt x="52" y="240"/>
                    </a:lnTo>
                    <a:lnTo>
                      <a:pt x="35" y="233"/>
                    </a:lnTo>
                    <a:lnTo>
                      <a:pt x="20" y="222"/>
                    </a:lnTo>
                    <a:lnTo>
                      <a:pt x="9" y="207"/>
                    </a:lnTo>
                    <a:lnTo>
                      <a:pt x="2" y="190"/>
                    </a:lnTo>
                    <a:lnTo>
                      <a:pt x="0" y="172"/>
                    </a:lnTo>
                    <a:lnTo>
                      <a:pt x="2" y="155"/>
                    </a:lnTo>
                    <a:lnTo>
                      <a:pt x="9" y="138"/>
                    </a:lnTo>
                    <a:lnTo>
                      <a:pt x="20" y="125"/>
                    </a:lnTo>
                    <a:lnTo>
                      <a:pt x="34" y="112"/>
                    </a:lnTo>
                    <a:lnTo>
                      <a:pt x="215" y="9"/>
                    </a:lnTo>
                    <a:lnTo>
                      <a:pt x="233" y="3"/>
                    </a:lnTo>
                    <a:lnTo>
                      <a:pt x="25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2" name="Freeform 45">
                <a:extLst>
                  <a:ext uri="{FF2B5EF4-FFF2-40B4-BE49-F238E27FC236}">
                    <a16:creationId xmlns:a16="http://schemas.microsoft.com/office/drawing/2014/main" id="{B82026AA-2FEE-4B0B-A163-9AB53FFE6A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4338" y="3709988"/>
                <a:ext cx="53975" cy="73025"/>
              </a:xfrm>
              <a:custGeom>
                <a:avLst/>
                <a:gdLst>
                  <a:gd name="T0" fmla="*/ 173 w 243"/>
                  <a:gd name="T1" fmla="*/ 0 h 318"/>
                  <a:gd name="T2" fmla="*/ 191 w 243"/>
                  <a:gd name="T3" fmla="*/ 3 h 318"/>
                  <a:gd name="T4" fmla="*/ 208 w 243"/>
                  <a:gd name="T5" fmla="*/ 11 h 318"/>
                  <a:gd name="T6" fmla="*/ 223 w 243"/>
                  <a:gd name="T7" fmla="*/ 22 h 318"/>
                  <a:gd name="T8" fmla="*/ 234 w 243"/>
                  <a:gd name="T9" fmla="*/ 36 h 318"/>
                  <a:gd name="T10" fmla="*/ 241 w 243"/>
                  <a:gd name="T11" fmla="*/ 52 h 318"/>
                  <a:gd name="T12" fmla="*/ 243 w 243"/>
                  <a:gd name="T13" fmla="*/ 69 h 318"/>
                  <a:gd name="T14" fmla="*/ 241 w 243"/>
                  <a:gd name="T15" fmla="*/ 88 h 318"/>
                  <a:gd name="T16" fmla="*/ 234 w 243"/>
                  <a:gd name="T17" fmla="*/ 104 h 318"/>
                  <a:gd name="T18" fmla="*/ 129 w 243"/>
                  <a:gd name="T19" fmla="*/ 284 h 318"/>
                  <a:gd name="T20" fmla="*/ 118 w 243"/>
                  <a:gd name="T21" fmla="*/ 299 h 318"/>
                  <a:gd name="T22" fmla="*/ 103 w 243"/>
                  <a:gd name="T23" fmla="*/ 310 h 318"/>
                  <a:gd name="T24" fmla="*/ 87 w 243"/>
                  <a:gd name="T25" fmla="*/ 316 h 318"/>
                  <a:gd name="T26" fmla="*/ 69 w 243"/>
                  <a:gd name="T27" fmla="*/ 318 h 318"/>
                  <a:gd name="T28" fmla="*/ 52 w 243"/>
                  <a:gd name="T29" fmla="*/ 316 h 318"/>
                  <a:gd name="T30" fmla="*/ 35 w 243"/>
                  <a:gd name="T31" fmla="*/ 309 h 318"/>
                  <a:gd name="T32" fmla="*/ 19 w 243"/>
                  <a:gd name="T33" fmla="*/ 298 h 318"/>
                  <a:gd name="T34" fmla="*/ 9 w 243"/>
                  <a:gd name="T35" fmla="*/ 284 h 318"/>
                  <a:gd name="T36" fmla="*/ 2 w 243"/>
                  <a:gd name="T37" fmla="*/ 267 h 318"/>
                  <a:gd name="T38" fmla="*/ 0 w 243"/>
                  <a:gd name="T39" fmla="*/ 250 h 318"/>
                  <a:gd name="T40" fmla="*/ 2 w 243"/>
                  <a:gd name="T41" fmla="*/ 232 h 318"/>
                  <a:gd name="T42" fmla="*/ 9 w 243"/>
                  <a:gd name="T43" fmla="*/ 215 h 318"/>
                  <a:gd name="T44" fmla="*/ 113 w 243"/>
                  <a:gd name="T45" fmla="*/ 36 h 318"/>
                  <a:gd name="T46" fmla="*/ 125 w 243"/>
                  <a:gd name="T47" fmla="*/ 21 h 318"/>
                  <a:gd name="T48" fmla="*/ 140 w 243"/>
                  <a:gd name="T49" fmla="*/ 10 h 318"/>
                  <a:gd name="T50" fmla="*/ 155 w 243"/>
                  <a:gd name="T51" fmla="*/ 3 h 318"/>
                  <a:gd name="T52" fmla="*/ 173 w 243"/>
                  <a:gd name="T53" fmla="*/ 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43" h="318">
                    <a:moveTo>
                      <a:pt x="173" y="0"/>
                    </a:moveTo>
                    <a:lnTo>
                      <a:pt x="191" y="3"/>
                    </a:lnTo>
                    <a:lnTo>
                      <a:pt x="208" y="11"/>
                    </a:lnTo>
                    <a:lnTo>
                      <a:pt x="223" y="22"/>
                    </a:lnTo>
                    <a:lnTo>
                      <a:pt x="234" y="36"/>
                    </a:lnTo>
                    <a:lnTo>
                      <a:pt x="241" y="52"/>
                    </a:lnTo>
                    <a:lnTo>
                      <a:pt x="243" y="69"/>
                    </a:lnTo>
                    <a:lnTo>
                      <a:pt x="241" y="88"/>
                    </a:lnTo>
                    <a:lnTo>
                      <a:pt x="234" y="104"/>
                    </a:lnTo>
                    <a:lnTo>
                      <a:pt x="129" y="284"/>
                    </a:lnTo>
                    <a:lnTo>
                      <a:pt x="118" y="299"/>
                    </a:lnTo>
                    <a:lnTo>
                      <a:pt x="103" y="310"/>
                    </a:lnTo>
                    <a:lnTo>
                      <a:pt x="87" y="316"/>
                    </a:lnTo>
                    <a:lnTo>
                      <a:pt x="69" y="318"/>
                    </a:lnTo>
                    <a:lnTo>
                      <a:pt x="52" y="316"/>
                    </a:lnTo>
                    <a:lnTo>
                      <a:pt x="35" y="309"/>
                    </a:lnTo>
                    <a:lnTo>
                      <a:pt x="19" y="298"/>
                    </a:lnTo>
                    <a:lnTo>
                      <a:pt x="9" y="284"/>
                    </a:lnTo>
                    <a:lnTo>
                      <a:pt x="2" y="267"/>
                    </a:lnTo>
                    <a:lnTo>
                      <a:pt x="0" y="250"/>
                    </a:lnTo>
                    <a:lnTo>
                      <a:pt x="2" y="232"/>
                    </a:lnTo>
                    <a:lnTo>
                      <a:pt x="9" y="215"/>
                    </a:lnTo>
                    <a:lnTo>
                      <a:pt x="113" y="36"/>
                    </a:lnTo>
                    <a:lnTo>
                      <a:pt x="125" y="21"/>
                    </a:lnTo>
                    <a:lnTo>
                      <a:pt x="140" y="10"/>
                    </a:lnTo>
                    <a:lnTo>
                      <a:pt x="155" y="3"/>
                    </a:lnTo>
                    <a:lnTo>
                      <a:pt x="1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3" name="Freeform 46">
                <a:extLst>
                  <a:ext uri="{FF2B5EF4-FFF2-40B4-BE49-F238E27FC236}">
                    <a16:creationId xmlns:a16="http://schemas.microsoft.com/office/drawing/2014/main" id="{6D3A69E2-1479-4D4C-AB6C-7F7E353356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125" y="3900488"/>
                <a:ext cx="74613" cy="244475"/>
              </a:xfrm>
              <a:custGeom>
                <a:avLst/>
                <a:gdLst>
                  <a:gd name="T0" fmla="*/ 167 w 334"/>
                  <a:gd name="T1" fmla="*/ 0 h 1078"/>
                  <a:gd name="T2" fmla="*/ 201 w 334"/>
                  <a:gd name="T3" fmla="*/ 2 h 1078"/>
                  <a:gd name="T4" fmla="*/ 231 w 334"/>
                  <a:gd name="T5" fmla="*/ 8 h 1078"/>
                  <a:gd name="T6" fmla="*/ 258 w 334"/>
                  <a:gd name="T7" fmla="*/ 18 h 1078"/>
                  <a:gd name="T8" fmla="*/ 281 w 334"/>
                  <a:gd name="T9" fmla="*/ 33 h 1078"/>
                  <a:gd name="T10" fmla="*/ 300 w 334"/>
                  <a:gd name="T11" fmla="*/ 51 h 1078"/>
                  <a:gd name="T12" fmla="*/ 315 w 334"/>
                  <a:gd name="T13" fmla="*/ 72 h 1078"/>
                  <a:gd name="T14" fmla="*/ 326 w 334"/>
                  <a:gd name="T15" fmla="*/ 98 h 1078"/>
                  <a:gd name="T16" fmla="*/ 332 w 334"/>
                  <a:gd name="T17" fmla="*/ 129 h 1078"/>
                  <a:gd name="T18" fmla="*/ 334 w 334"/>
                  <a:gd name="T19" fmla="*/ 163 h 1078"/>
                  <a:gd name="T20" fmla="*/ 334 w 334"/>
                  <a:gd name="T21" fmla="*/ 407 h 1078"/>
                  <a:gd name="T22" fmla="*/ 333 w 334"/>
                  <a:gd name="T23" fmla="*/ 440 h 1078"/>
                  <a:gd name="T24" fmla="*/ 330 w 334"/>
                  <a:gd name="T25" fmla="*/ 473 h 1078"/>
                  <a:gd name="T26" fmla="*/ 326 w 334"/>
                  <a:gd name="T27" fmla="*/ 507 h 1078"/>
                  <a:gd name="T28" fmla="*/ 260 w 334"/>
                  <a:gd name="T29" fmla="*/ 1000 h 1078"/>
                  <a:gd name="T30" fmla="*/ 256 w 334"/>
                  <a:gd name="T31" fmla="*/ 1023 h 1078"/>
                  <a:gd name="T32" fmla="*/ 248 w 334"/>
                  <a:gd name="T33" fmla="*/ 1043 h 1078"/>
                  <a:gd name="T34" fmla="*/ 238 w 334"/>
                  <a:gd name="T35" fmla="*/ 1056 h 1078"/>
                  <a:gd name="T36" fmla="*/ 224 w 334"/>
                  <a:gd name="T37" fmla="*/ 1066 h 1078"/>
                  <a:gd name="T38" fmla="*/ 208 w 334"/>
                  <a:gd name="T39" fmla="*/ 1073 h 1078"/>
                  <a:gd name="T40" fmla="*/ 189 w 334"/>
                  <a:gd name="T41" fmla="*/ 1076 h 1078"/>
                  <a:gd name="T42" fmla="*/ 167 w 334"/>
                  <a:gd name="T43" fmla="*/ 1078 h 1078"/>
                  <a:gd name="T44" fmla="*/ 146 w 334"/>
                  <a:gd name="T45" fmla="*/ 1076 h 1078"/>
                  <a:gd name="T46" fmla="*/ 126 w 334"/>
                  <a:gd name="T47" fmla="*/ 1073 h 1078"/>
                  <a:gd name="T48" fmla="*/ 110 w 334"/>
                  <a:gd name="T49" fmla="*/ 1066 h 1078"/>
                  <a:gd name="T50" fmla="*/ 97 w 334"/>
                  <a:gd name="T51" fmla="*/ 1056 h 1078"/>
                  <a:gd name="T52" fmla="*/ 86 w 334"/>
                  <a:gd name="T53" fmla="*/ 1043 h 1078"/>
                  <a:gd name="T54" fmla="*/ 78 w 334"/>
                  <a:gd name="T55" fmla="*/ 1023 h 1078"/>
                  <a:gd name="T56" fmla="*/ 74 w 334"/>
                  <a:gd name="T57" fmla="*/ 1000 h 1078"/>
                  <a:gd name="T58" fmla="*/ 8 w 334"/>
                  <a:gd name="T59" fmla="*/ 507 h 1078"/>
                  <a:gd name="T60" fmla="*/ 5 w 334"/>
                  <a:gd name="T61" fmla="*/ 473 h 1078"/>
                  <a:gd name="T62" fmla="*/ 1 w 334"/>
                  <a:gd name="T63" fmla="*/ 440 h 1078"/>
                  <a:gd name="T64" fmla="*/ 0 w 334"/>
                  <a:gd name="T65" fmla="*/ 407 h 1078"/>
                  <a:gd name="T66" fmla="*/ 0 w 334"/>
                  <a:gd name="T67" fmla="*/ 163 h 1078"/>
                  <a:gd name="T68" fmla="*/ 2 w 334"/>
                  <a:gd name="T69" fmla="*/ 129 h 1078"/>
                  <a:gd name="T70" fmla="*/ 8 w 334"/>
                  <a:gd name="T71" fmla="*/ 98 h 1078"/>
                  <a:gd name="T72" fmla="*/ 19 w 334"/>
                  <a:gd name="T73" fmla="*/ 72 h 1078"/>
                  <a:gd name="T74" fmla="*/ 34 w 334"/>
                  <a:gd name="T75" fmla="*/ 51 h 1078"/>
                  <a:gd name="T76" fmla="*/ 53 w 334"/>
                  <a:gd name="T77" fmla="*/ 33 h 1078"/>
                  <a:gd name="T78" fmla="*/ 76 w 334"/>
                  <a:gd name="T79" fmla="*/ 18 h 1078"/>
                  <a:gd name="T80" fmla="*/ 103 w 334"/>
                  <a:gd name="T81" fmla="*/ 8 h 1078"/>
                  <a:gd name="T82" fmla="*/ 133 w 334"/>
                  <a:gd name="T83" fmla="*/ 2 h 1078"/>
                  <a:gd name="T84" fmla="*/ 167 w 334"/>
                  <a:gd name="T85" fmla="*/ 0 h 1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4" h="1078">
                    <a:moveTo>
                      <a:pt x="167" y="0"/>
                    </a:moveTo>
                    <a:lnTo>
                      <a:pt x="201" y="2"/>
                    </a:lnTo>
                    <a:lnTo>
                      <a:pt x="231" y="8"/>
                    </a:lnTo>
                    <a:lnTo>
                      <a:pt x="258" y="18"/>
                    </a:lnTo>
                    <a:lnTo>
                      <a:pt x="281" y="33"/>
                    </a:lnTo>
                    <a:lnTo>
                      <a:pt x="300" y="51"/>
                    </a:lnTo>
                    <a:lnTo>
                      <a:pt x="315" y="72"/>
                    </a:lnTo>
                    <a:lnTo>
                      <a:pt x="326" y="98"/>
                    </a:lnTo>
                    <a:lnTo>
                      <a:pt x="332" y="129"/>
                    </a:lnTo>
                    <a:lnTo>
                      <a:pt x="334" y="163"/>
                    </a:lnTo>
                    <a:lnTo>
                      <a:pt x="334" y="407"/>
                    </a:lnTo>
                    <a:lnTo>
                      <a:pt x="333" y="440"/>
                    </a:lnTo>
                    <a:lnTo>
                      <a:pt x="330" y="473"/>
                    </a:lnTo>
                    <a:lnTo>
                      <a:pt x="326" y="507"/>
                    </a:lnTo>
                    <a:lnTo>
                      <a:pt x="260" y="1000"/>
                    </a:lnTo>
                    <a:lnTo>
                      <a:pt x="256" y="1023"/>
                    </a:lnTo>
                    <a:lnTo>
                      <a:pt x="248" y="1043"/>
                    </a:lnTo>
                    <a:lnTo>
                      <a:pt x="238" y="1056"/>
                    </a:lnTo>
                    <a:lnTo>
                      <a:pt x="224" y="1066"/>
                    </a:lnTo>
                    <a:lnTo>
                      <a:pt x="208" y="1073"/>
                    </a:lnTo>
                    <a:lnTo>
                      <a:pt x="189" y="1076"/>
                    </a:lnTo>
                    <a:lnTo>
                      <a:pt x="167" y="1078"/>
                    </a:lnTo>
                    <a:lnTo>
                      <a:pt x="146" y="1076"/>
                    </a:lnTo>
                    <a:lnTo>
                      <a:pt x="126" y="1073"/>
                    </a:lnTo>
                    <a:lnTo>
                      <a:pt x="110" y="1066"/>
                    </a:lnTo>
                    <a:lnTo>
                      <a:pt x="97" y="1056"/>
                    </a:lnTo>
                    <a:lnTo>
                      <a:pt x="86" y="1043"/>
                    </a:lnTo>
                    <a:lnTo>
                      <a:pt x="78" y="1023"/>
                    </a:lnTo>
                    <a:lnTo>
                      <a:pt x="74" y="1000"/>
                    </a:lnTo>
                    <a:lnTo>
                      <a:pt x="8" y="507"/>
                    </a:lnTo>
                    <a:lnTo>
                      <a:pt x="5" y="473"/>
                    </a:lnTo>
                    <a:lnTo>
                      <a:pt x="1" y="440"/>
                    </a:lnTo>
                    <a:lnTo>
                      <a:pt x="0" y="407"/>
                    </a:lnTo>
                    <a:lnTo>
                      <a:pt x="0" y="163"/>
                    </a:lnTo>
                    <a:lnTo>
                      <a:pt x="2" y="129"/>
                    </a:lnTo>
                    <a:lnTo>
                      <a:pt x="8" y="98"/>
                    </a:lnTo>
                    <a:lnTo>
                      <a:pt x="19" y="72"/>
                    </a:lnTo>
                    <a:lnTo>
                      <a:pt x="34" y="51"/>
                    </a:lnTo>
                    <a:lnTo>
                      <a:pt x="53" y="33"/>
                    </a:lnTo>
                    <a:lnTo>
                      <a:pt x="76" y="18"/>
                    </a:lnTo>
                    <a:lnTo>
                      <a:pt x="103" y="8"/>
                    </a:lnTo>
                    <a:lnTo>
                      <a:pt x="133" y="2"/>
                    </a:lnTo>
                    <a:lnTo>
                      <a:pt x="16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4" name="Freeform 47">
                <a:extLst>
                  <a:ext uri="{FF2B5EF4-FFF2-40B4-BE49-F238E27FC236}">
                    <a16:creationId xmlns:a16="http://schemas.microsoft.com/office/drawing/2014/main" id="{0957A4CB-D653-4EBA-A554-B38EA961EA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538" y="4175125"/>
                <a:ext cx="77788" cy="79375"/>
              </a:xfrm>
              <a:custGeom>
                <a:avLst/>
                <a:gdLst>
                  <a:gd name="T0" fmla="*/ 174 w 348"/>
                  <a:gd name="T1" fmla="*/ 0 h 346"/>
                  <a:gd name="T2" fmla="*/ 209 w 348"/>
                  <a:gd name="T3" fmla="*/ 5 h 346"/>
                  <a:gd name="T4" fmla="*/ 241 w 348"/>
                  <a:gd name="T5" fmla="*/ 15 h 346"/>
                  <a:gd name="T6" fmla="*/ 271 w 348"/>
                  <a:gd name="T7" fmla="*/ 31 h 346"/>
                  <a:gd name="T8" fmla="*/ 297 w 348"/>
                  <a:gd name="T9" fmla="*/ 51 h 346"/>
                  <a:gd name="T10" fmla="*/ 319 w 348"/>
                  <a:gd name="T11" fmla="*/ 77 h 346"/>
                  <a:gd name="T12" fmla="*/ 335 w 348"/>
                  <a:gd name="T13" fmla="*/ 107 h 346"/>
                  <a:gd name="T14" fmla="*/ 345 w 348"/>
                  <a:gd name="T15" fmla="*/ 139 h 346"/>
                  <a:gd name="T16" fmla="*/ 348 w 348"/>
                  <a:gd name="T17" fmla="*/ 173 h 346"/>
                  <a:gd name="T18" fmla="*/ 345 w 348"/>
                  <a:gd name="T19" fmla="*/ 208 h 346"/>
                  <a:gd name="T20" fmla="*/ 335 w 348"/>
                  <a:gd name="T21" fmla="*/ 241 h 346"/>
                  <a:gd name="T22" fmla="*/ 319 w 348"/>
                  <a:gd name="T23" fmla="*/ 271 h 346"/>
                  <a:gd name="T24" fmla="*/ 297 w 348"/>
                  <a:gd name="T25" fmla="*/ 295 h 346"/>
                  <a:gd name="T26" fmla="*/ 271 w 348"/>
                  <a:gd name="T27" fmla="*/ 317 h 346"/>
                  <a:gd name="T28" fmla="*/ 241 w 348"/>
                  <a:gd name="T29" fmla="*/ 333 h 346"/>
                  <a:gd name="T30" fmla="*/ 209 w 348"/>
                  <a:gd name="T31" fmla="*/ 343 h 346"/>
                  <a:gd name="T32" fmla="*/ 174 w 348"/>
                  <a:gd name="T33" fmla="*/ 346 h 346"/>
                  <a:gd name="T34" fmla="*/ 139 w 348"/>
                  <a:gd name="T35" fmla="*/ 343 h 346"/>
                  <a:gd name="T36" fmla="*/ 107 w 348"/>
                  <a:gd name="T37" fmla="*/ 333 h 346"/>
                  <a:gd name="T38" fmla="*/ 78 w 348"/>
                  <a:gd name="T39" fmla="*/ 317 h 346"/>
                  <a:gd name="T40" fmla="*/ 51 w 348"/>
                  <a:gd name="T41" fmla="*/ 295 h 346"/>
                  <a:gd name="T42" fmla="*/ 30 w 348"/>
                  <a:gd name="T43" fmla="*/ 271 h 346"/>
                  <a:gd name="T44" fmla="*/ 14 w 348"/>
                  <a:gd name="T45" fmla="*/ 241 h 346"/>
                  <a:gd name="T46" fmla="*/ 4 w 348"/>
                  <a:gd name="T47" fmla="*/ 208 h 346"/>
                  <a:gd name="T48" fmla="*/ 0 w 348"/>
                  <a:gd name="T49" fmla="*/ 173 h 346"/>
                  <a:gd name="T50" fmla="*/ 4 w 348"/>
                  <a:gd name="T51" fmla="*/ 139 h 346"/>
                  <a:gd name="T52" fmla="*/ 14 w 348"/>
                  <a:gd name="T53" fmla="*/ 107 h 346"/>
                  <a:gd name="T54" fmla="*/ 30 w 348"/>
                  <a:gd name="T55" fmla="*/ 77 h 346"/>
                  <a:gd name="T56" fmla="*/ 51 w 348"/>
                  <a:gd name="T57" fmla="*/ 51 h 346"/>
                  <a:gd name="T58" fmla="*/ 78 w 348"/>
                  <a:gd name="T59" fmla="*/ 31 h 346"/>
                  <a:gd name="T60" fmla="*/ 107 w 348"/>
                  <a:gd name="T61" fmla="*/ 15 h 346"/>
                  <a:gd name="T62" fmla="*/ 139 w 348"/>
                  <a:gd name="T63" fmla="*/ 5 h 346"/>
                  <a:gd name="T64" fmla="*/ 174 w 348"/>
                  <a:gd name="T65" fmla="*/ 0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8" h="346">
                    <a:moveTo>
                      <a:pt x="174" y="0"/>
                    </a:moveTo>
                    <a:lnTo>
                      <a:pt x="209" y="5"/>
                    </a:lnTo>
                    <a:lnTo>
                      <a:pt x="241" y="15"/>
                    </a:lnTo>
                    <a:lnTo>
                      <a:pt x="271" y="31"/>
                    </a:lnTo>
                    <a:lnTo>
                      <a:pt x="297" y="51"/>
                    </a:lnTo>
                    <a:lnTo>
                      <a:pt x="319" y="77"/>
                    </a:lnTo>
                    <a:lnTo>
                      <a:pt x="335" y="107"/>
                    </a:lnTo>
                    <a:lnTo>
                      <a:pt x="345" y="139"/>
                    </a:lnTo>
                    <a:lnTo>
                      <a:pt x="348" y="173"/>
                    </a:lnTo>
                    <a:lnTo>
                      <a:pt x="345" y="208"/>
                    </a:lnTo>
                    <a:lnTo>
                      <a:pt x="335" y="241"/>
                    </a:lnTo>
                    <a:lnTo>
                      <a:pt x="319" y="271"/>
                    </a:lnTo>
                    <a:lnTo>
                      <a:pt x="297" y="295"/>
                    </a:lnTo>
                    <a:lnTo>
                      <a:pt x="271" y="317"/>
                    </a:lnTo>
                    <a:lnTo>
                      <a:pt x="241" y="333"/>
                    </a:lnTo>
                    <a:lnTo>
                      <a:pt x="209" y="343"/>
                    </a:lnTo>
                    <a:lnTo>
                      <a:pt x="174" y="346"/>
                    </a:lnTo>
                    <a:lnTo>
                      <a:pt x="139" y="343"/>
                    </a:lnTo>
                    <a:lnTo>
                      <a:pt x="107" y="333"/>
                    </a:lnTo>
                    <a:lnTo>
                      <a:pt x="78" y="317"/>
                    </a:lnTo>
                    <a:lnTo>
                      <a:pt x="51" y="295"/>
                    </a:lnTo>
                    <a:lnTo>
                      <a:pt x="30" y="271"/>
                    </a:lnTo>
                    <a:lnTo>
                      <a:pt x="14" y="241"/>
                    </a:lnTo>
                    <a:lnTo>
                      <a:pt x="4" y="208"/>
                    </a:lnTo>
                    <a:lnTo>
                      <a:pt x="0" y="173"/>
                    </a:lnTo>
                    <a:lnTo>
                      <a:pt x="4" y="139"/>
                    </a:lnTo>
                    <a:lnTo>
                      <a:pt x="14" y="107"/>
                    </a:lnTo>
                    <a:lnTo>
                      <a:pt x="30" y="77"/>
                    </a:lnTo>
                    <a:lnTo>
                      <a:pt x="51" y="51"/>
                    </a:lnTo>
                    <a:lnTo>
                      <a:pt x="78" y="31"/>
                    </a:lnTo>
                    <a:lnTo>
                      <a:pt x="107" y="15"/>
                    </a:lnTo>
                    <a:lnTo>
                      <a:pt x="139" y="5"/>
                    </a:lnTo>
                    <a:lnTo>
                      <a:pt x="1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FB83A560-918A-4290-8953-AA080C9B6C80}"/>
                </a:ext>
              </a:extLst>
            </p:cNvPr>
            <p:cNvGrpSpPr/>
            <p:nvPr/>
          </p:nvGrpSpPr>
          <p:grpSpPr>
            <a:xfrm>
              <a:off x="886879" y="2642050"/>
              <a:ext cx="356462" cy="304698"/>
              <a:chOff x="1919288" y="3341688"/>
              <a:chExt cx="600075" cy="547688"/>
            </a:xfrm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</a:gradFill>
          </p:grpSpPr>
          <p:sp>
            <p:nvSpPr>
              <p:cNvPr id="140" name="Freeform 60">
                <a:extLst>
                  <a:ext uri="{FF2B5EF4-FFF2-40B4-BE49-F238E27FC236}">
                    <a16:creationId xmlns:a16="http://schemas.microsoft.com/office/drawing/2014/main" id="{C852F5A6-28AD-4CC5-948D-E94CB1DE84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19288" y="3341688"/>
                <a:ext cx="600075" cy="458788"/>
              </a:xfrm>
              <a:custGeom>
                <a:avLst/>
                <a:gdLst>
                  <a:gd name="T0" fmla="*/ 259 w 3400"/>
                  <a:gd name="T1" fmla="*/ 294 h 2598"/>
                  <a:gd name="T2" fmla="*/ 259 w 3400"/>
                  <a:gd name="T3" fmla="*/ 2234 h 2598"/>
                  <a:gd name="T4" fmla="*/ 3141 w 3400"/>
                  <a:gd name="T5" fmla="*/ 2234 h 2598"/>
                  <a:gd name="T6" fmla="*/ 3141 w 3400"/>
                  <a:gd name="T7" fmla="*/ 294 h 2598"/>
                  <a:gd name="T8" fmla="*/ 259 w 3400"/>
                  <a:gd name="T9" fmla="*/ 294 h 2598"/>
                  <a:gd name="T10" fmla="*/ 207 w 3400"/>
                  <a:gd name="T11" fmla="*/ 0 h 2598"/>
                  <a:gd name="T12" fmla="*/ 3193 w 3400"/>
                  <a:gd name="T13" fmla="*/ 0 h 2598"/>
                  <a:gd name="T14" fmla="*/ 3227 w 3400"/>
                  <a:gd name="T15" fmla="*/ 3 h 2598"/>
                  <a:gd name="T16" fmla="*/ 3258 w 3400"/>
                  <a:gd name="T17" fmla="*/ 10 h 2598"/>
                  <a:gd name="T18" fmla="*/ 3288 w 3400"/>
                  <a:gd name="T19" fmla="*/ 23 h 2598"/>
                  <a:gd name="T20" fmla="*/ 3315 w 3400"/>
                  <a:gd name="T21" fmla="*/ 40 h 2598"/>
                  <a:gd name="T22" fmla="*/ 3339 w 3400"/>
                  <a:gd name="T23" fmla="*/ 62 h 2598"/>
                  <a:gd name="T24" fmla="*/ 3360 w 3400"/>
                  <a:gd name="T25" fmla="*/ 86 h 2598"/>
                  <a:gd name="T26" fmla="*/ 3377 w 3400"/>
                  <a:gd name="T27" fmla="*/ 114 h 2598"/>
                  <a:gd name="T28" fmla="*/ 3389 w 3400"/>
                  <a:gd name="T29" fmla="*/ 144 h 2598"/>
                  <a:gd name="T30" fmla="*/ 3397 w 3400"/>
                  <a:gd name="T31" fmla="*/ 176 h 2598"/>
                  <a:gd name="T32" fmla="*/ 3400 w 3400"/>
                  <a:gd name="T33" fmla="*/ 210 h 2598"/>
                  <a:gd name="T34" fmla="*/ 3400 w 3400"/>
                  <a:gd name="T35" fmla="*/ 2388 h 2598"/>
                  <a:gd name="T36" fmla="*/ 3397 w 3400"/>
                  <a:gd name="T37" fmla="*/ 2422 h 2598"/>
                  <a:gd name="T38" fmla="*/ 3389 w 3400"/>
                  <a:gd name="T39" fmla="*/ 2454 h 2598"/>
                  <a:gd name="T40" fmla="*/ 3377 w 3400"/>
                  <a:gd name="T41" fmla="*/ 2484 h 2598"/>
                  <a:gd name="T42" fmla="*/ 3360 w 3400"/>
                  <a:gd name="T43" fmla="*/ 2512 h 2598"/>
                  <a:gd name="T44" fmla="*/ 3339 w 3400"/>
                  <a:gd name="T45" fmla="*/ 2536 h 2598"/>
                  <a:gd name="T46" fmla="*/ 3315 w 3400"/>
                  <a:gd name="T47" fmla="*/ 2556 h 2598"/>
                  <a:gd name="T48" fmla="*/ 3288 w 3400"/>
                  <a:gd name="T49" fmla="*/ 2573 h 2598"/>
                  <a:gd name="T50" fmla="*/ 3258 w 3400"/>
                  <a:gd name="T51" fmla="*/ 2586 h 2598"/>
                  <a:gd name="T52" fmla="*/ 3227 w 3400"/>
                  <a:gd name="T53" fmla="*/ 2595 h 2598"/>
                  <a:gd name="T54" fmla="*/ 3193 w 3400"/>
                  <a:gd name="T55" fmla="*/ 2598 h 2598"/>
                  <a:gd name="T56" fmla="*/ 207 w 3400"/>
                  <a:gd name="T57" fmla="*/ 2598 h 2598"/>
                  <a:gd name="T58" fmla="*/ 174 w 3400"/>
                  <a:gd name="T59" fmla="*/ 2595 h 2598"/>
                  <a:gd name="T60" fmla="*/ 142 w 3400"/>
                  <a:gd name="T61" fmla="*/ 2586 h 2598"/>
                  <a:gd name="T62" fmla="*/ 112 w 3400"/>
                  <a:gd name="T63" fmla="*/ 2573 h 2598"/>
                  <a:gd name="T64" fmla="*/ 85 w 3400"/>
                  <a:gd name="T65" fmla="*/ 2556 h 2598"/>
                  <a:gd name="T66" fmla="*/ 61 w 3400"/>
                  <a:gd name="T67" fmla="*/ 2536 h 2598"/>
                  <a:gd name="T68" fmla="*/ 40 w 3400"/>
                  <a:gd name="T69" fmla="*/ 2512 h 2598"/>
                  <a:gd name="T70" fmla="*/ 23 w 3400"/>
                  <a:gd name="T71" fmla="*/ 2484 h 2598"/>
                  <a:gd name="T72" fmla="*/ 11 w 3400"/>
                  <a:gd name="T73" fmla="*/ 2454 h 2598"/>
                  <a:gd name="T74" fmla="*/ 3 w 3400"/>
                  <a:gd name="T75" fmla="*/ 2422 h 2598"/>
                  <a:gd name="T76" fmla="*/ 0 w 3400"/>
                  <a:gd name="T77" fmla="*/ 2388 h 2598"/>
                  <a:gd name="T78" fmla="*/ 0 w 3400"/>
                  <a:gd name="T79" fmla="*/ 210 h 2598"/>
                  <a:gd name="T80" fmla="*/ 3 w 3400"/>
                  <a:gd name="T81" fmla="*/ 176 h 2598"/>
                  <a:gd name="T82" fmla="*/ 11 w 3400"/>
                  <a:gd name="T83" fmla="*/ 144 h 2598"/>
                  <a:gd name="T84" fmla="*/ 23 w 3400"/>
                  <a:gd name="T85" fmla="*/ 114 h 2598"/>
                  <a:gd name="T86" fmla="*/ 40 w 3400"/>
                  <a:gd name="T87" fmla="*/ 86 h 2598"/>
                  <a:gd name="T88" fmla="*/ 61 w 3400"/>
                  <a:gd name="T89" fmla="*/ 62 h 2598"/>
                  <a:gd name="T90" fmla="*/ 85 w 3400"/>
                  <a:gd name="T91" fmla="*/ 40 h 2598"/>
                  <a:gd name="T92" fmla="*/ 112 w 3400"/>
                  <a:gd name="T93" fmla="*/ 23 h 2598"/>
                  <a:gd name="T94" fmla="*/ 142 w 3400"/>
                  <a:gd name="T95" fmla="*/ 10 h 2598"/>
                  <a:gd name="T96" fmla="*/ 174 w 3400"/>
                  <a:gd name="T97" fmla="*/ 3 h 2598"/>
                  <a:gd name="T98" fmla="*/ 207 w 3400"/>
                  <a:gd name="T99" fmla="*/ 0 h 2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00" h="2598">
                    <a:moveTo>
                      <a:pt x="259" y="294"/>
                    </a:moveTo>
                    <a:lnTo>
                      <a:pt x="259" y="2234"/>
                    </a:lnTo>
                    <a:lnTo>
                      <a:pt x="3141" y="2234"/>
                    </a:lnTo>
                    <a:lnTo>
                      <a:pt x="3141" y="294"/>
                    </a:lnTo>
                    <a:lnTo>
                      <a:pt x="259" y="294"/>
                    </a:lnTo>
                    <a:close/>
                    <a:moveTo>
                      <a:pt x="207" y="0"/>
                    </a:moveTo>
                    <a:lnTo>
                      <a:pt x="3193" y="0"/>
                    </a:lnTo>
                    <a:lnTo>
                      <a:pt x="3227" y="3"/>
                    </a:lnTo>
                    <a:lnTo>
                      <a:pt x="3258" y="10"/>
                    </a:lnTo>
                    <a:lnTo>
                      <a:pt x="3288" y="23"/>
                    </a:lnTo>
                    <a:lnTo>
                      <a:pt x="3315" y="40"/>
                    </a:lnTo>
                    <a:lnTo>
                      <a:pt x="3339" y="62"/>
                    </a:lnTo>
                    <a:lnTo>
                      <a:pt x="3360" y="86"/>
                    </a:lnTo>
                    <a:lnTo>
                      <a:pt x="3377" y="114"/>
                    </a:lnTo>
                    <a:lnTo>
                      <a:pt x="3389" y="144"/>
                    </a:lnTo>
                    <a:lnTo>
                      <a:pt x="3397" y="176"/>
                    </a:lnTo>
                    <a:lnTo>
                      <a:pt x="3400" y="210"/>
                    </a:lnTo>
                    <a:lnTo>
                      <a:pt x="3400" y="2388"/>
                    </a:lnTo>
                    <a:lnTo>
                      <a:pt x="3397" y="2422"/>
                    </a:lnTo>
                    <a:lnTo>
                      <a:pt x="3389" y="2454"/>
                    </a:lnTo>
                    <a:lnTo>
                      <a:pt x="3377" y="2484"/>
                    </a:lnTo>
                    <a:lnTo>
                      <a:pt x="3360" y="2512"/>
                    </a:lnTo>
                    <a:lnTo>
                      <a:pt x="3339" y="2536"/>
                    </a:lnTo>
                    <a:lnTo>
                      <a:pt x="3315" y="2556"/>
                    </a:lnTo>
                    <a:lnTo>
                      <a:pt x="3288" y="2573"/>
                    </a:lnTo>
                    <a:lnTo>
                      <a:pt x="3258" y="2586"/>
                    </a:lnTo>
                    <a:lnTo>
                      <a:pt x="3227" y="2595"/>
                    </a:lnTo>
                    <a:lnTo>
                      <a:pt x="3193" y="2598"/>
                    </a:lnTo>
                    <a:lnTo>
                      <a:pt x="207" y="2598"/>
                    </a:lnTo>
                    <a:lnTo>
                      <a:pt x="174" y="2595"/>
                    </a:lnTo>
                    <a:lnTo>
                      <a:pt x="142" y="2586"/>
                    </a:lnTo>
                    <a:lnTo>
                      <a:pt x="112" y="2573"/>
                    </a:lnTo>
                    <a:lnTo>
                      <a:pt x="85" y="2556"/>
                    </a:lnTo>
                    <a:lnTo>
                      <a:pt x="61" y="2536"/>
                    </a:lnTo>
                    <a:lnTo>
                      <a:pt x="40" y="2512"/>
                    </a:lnTo>
                    <a:lnTo>
                      <a:pt x="23" y="2484"/>
                    </a:lnTo>
                    <a:lnTo>
                      <a:pt x="11" y="2454"/>
                    </a:lnTo>
                    <a:lnTo>
                      <a:pt x="3" y="2422"/>
                    </a:lnTo>
                    <a:lnTo>
                      <a:pt x="0" y="2388"/>
                    </a:lnTo>
                    <a:lnTo>
                      <a:pt x="0" y="210"/>
                    </a:lnTo>
                    <a:lnTo>
                      <a:pt x="3" y="176"/>
                    </a:lnTo>
                    <a:lnTo>
                      <a:pt x="11" y="144"/>
                    </a:lnTo>
                    <a:lnTo>
                      <a:pt x="23" y="114"/>
                    </a:lnTo>
                    <a:lnTo>
                      <a:pt x="40" y="86"/>
                    </a:lnTo>
                    <a:lnTo>
                      <a:pt x="61" y="62"/>
                    </a:lnTo>
                    <a:lnTo>
                      <a:pt x="85" y="40"/>
                    </a:lnTo>
                    <a:lnTo>
                      <a:pt x="112" y="23"/>
                    </a:lnTo>
                    <a:lnTo>
                      <a:pt x="142" y="10"/>
                    </a:lnTo>
                    <a:lnTo>
                      <a:pt x="174" y="3"/>
                    </a:lnTo>
                    <a:lnTo>
                      <a:pt x="20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1" name="Freeform 61">
                <a:extLst>
                  <a:ext uri="{FF2B5EF4-FFF2-40B4-BE49-F238E27FC236}">
                    <a16:creationId xmlns:a16="http://schemas.microsoft.com/office/drawing/2014/main" id="{C67257BB-623F-499E-96AD-292F40B754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2800" y="3817938"/>
                <a:ext cx="273050" cy="71438"/>
              </a:xfrm>
              <a:custGeom>
                <a:avLst/>
                <a:gdLst>
                  <a:gd name="T0" fmla="*/ 392 w 1553"/>
                  <a:gd name="T1" fmla="*/ 0 h 404"/>
                  <a:gd name="T2" fmla="*/ 1162 w 1553"/>
                  <a:gd name="T3" fmla="*/ 0 h 404"/>
                  <a:gd name="T4" fmla="*/ 1553 w 1553"/>
                  <a:gd name="T5" fmla="*/ 404 h 404"/>
                  <a:gd name="T6" fmla="*/ 0 w 1553"/>
                  <a:gd name="T7" fmla="*/ 404 h 404"/>
                  <a:gd name="T8" fmla="*/ 392 w 1553"/>
                  <a:gd name="T9" fmla="*/ 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53" h="404">
                    <a:moveTo>
                      <a:pt x="392" y="0"/>
                    </a:moveTo>
                    <a:lnTo>
                      <a:pt x="1162" y="0"/>
                    </a:lnTo>
                    <a:lnTo>
                      <a:pt x="1553" y="404"/>
                    </a:lnTo>
                    <a:lnTo>
                      <a:pt x="0" y="404"/>
                    </a:lnTo>
                    <a:lnTo>
                      <a:pt x="39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2" name="Freeform 62">
                <a:extLst>
                  <a:ext uri="{FF2B5EF4-FFF2-40B4-BE49-F238E27FC236}">
                    <a16:creationId xmlns:a16="http://schemas.microsoft.com/office/drawing/2014/main" id="{89AB3112-2499-4FD3-B9AF-5E63C4854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7713" y="3494088"/>
                <a:ext cx="393700" cy="173038"/>
              </a:xfrm>
              <a:custGeom>
                <a:avLst/>
                <a:gdLst>
                  <a:gd name="T0" fmla="*/ 2144 w 2228"/>
                  <a:gd name="T1" fmla="*/ 10 h 981"/>
                  <a:gd name="T2" fmla="*/ 2205 w 2228"/>
                  <a:gd name="T3" fmla="*/ 61 h 981"/>
                  <a:gd name="T4" fmla="*/ 2228 w 2228"/>
                  <a:gd name="T5" fmla="*/ 140 h 981"/>
                  <a:gd name="T6" fmla="*/ 2205 w 2228"/>
                  <a:gd name="T7" fmla="*/ 219 h 981"/>
                  <a:gd name="T8" fmla="*/ 2144 w 2228"/>
                  <a:gd name="T9" fmla="*/ 269 h 981"/>
                  <a:gd name="T10" fmla="*/ 2067 w 2228"/>
                  <a:gd name="T11" fmla="*/ 279 h 981"/>
                  <a:gd name="T12" fmla="*/ 1668 w 2228"/>
                  <a:gd name="T13" fmla="*/ 592 h 981"/>
                  <a:gd name="T14" fmla="*/ 1676 w 2228"/>
                  <a:gd name="T15" fmla="*/ 630 h 981"/>
                  <a:gd name="T16" fmla="*/ 1652 w 2228"/>
                  <a:gd name="T17" fmla="*/ 709 h 981"/>
                  <a:gd name="T18" fmla="*/ 1592 w 2228"/>
                  <a:gd name="T19" fmla="*/ 760 h 981"/>
                  <a:gd name="T20" fmla="*/ 1510 w 2228"/>
                  <a:gd name="T21" fmla="*/ 768 h 981"/>
                  <a:gd name="T22" fmla="*/ 1439 w 2228"/>
                  <a:gd name="T23" fmla="*/ 729 h 981"/>
                  <a:gd name="T24" fmla="*/ 1401 w 2228"/>
                  <a:gd name="T25" fmla="*/ 658 h 981"/>
                  <a:gd name="T26" fmla="*/ 1404 w 2228"/>
                  <a:gd name="T27" fmla="*/ 606 h 981"/>
                  <a:gd name="T28" fmla="*/ 1294 w 2228"/>
                  <a:gd name="T29" fmla="*/ 512 h 981"/>
                  <a:gd name="T30" fmla="*/ 1179 w 2228"/>
                  <a:gd name="T31" fmla="*/ 413 h 981"/>
                  <a:gd name="T32" fmla="*/ 1075 w 2228"/>
                  <a:gd name="T33" fmla="*/ 322 h 981"/>
                  <a:gd name="T34" fmla="*/ 1002 w 2228"/>
                  <a:gd name="T35" fmla="*/ 315 h 981"/>
                  <a:gd name="T36" fmla="*/ 937 w 2228"/>
                  <a:gd name="T37" fmla="*/ 310 h 981"/>
                  <a:gd name="T38" fmla="*/ 870 w 2228"/>
                  <a:gd name="T39" fmla="*/ 314 h 981"/>
                  <a:gd name="T40" fmla="*/ 757 w 2228"/>
                  <a:gd name="T41" fmla="*/ 404 h 981"/>
                  <a:gd name="T42" fmla="*/ 621 w 2228"/>
                  <a:gd name="T43" fmla="*/ 513 h 981"/>
                  <a:gd name="T44" fmla="*/ 480 w 2228"/>
                  <a:gd name="T45" fmla="*/ 628 h 981"/>
                  <a:gd name="T46" fmla="*/ 346 w 2228"/>
                  <a:gd name="T47" fmla="*/ 737 h 981"/>
                  <a:gd name="T48" fmla="*/ 274 w 2228"/>
                  <a:gd name="T49" fmla="*/ 820 h 981"/>
                  <a:gd name="T50" fmla="*/ 265 w 2228"/>
                  <a:gd name="T51" fmla="*/ 894 h 981"/>
                  <a:gd name="T52" fmla="*/ 215 w 2228"/>
                  <a:gd name="T53" fmla="*/ 956 h 981"/>
                  <a:gd name="T54" fmla="*/ 138 w 2228"/>
                  <a:gd name="T55" fmla="*/ 981 h 981"/>
                  <a:gd name="T56" fmla="*/ 61 w 2228"/>
                  <a:gd name="T57" fmla="*/ 956 h 981"/>
                  <a:gd name="T58" fmla="*/ 10 w 2228"/>
                  <a:gd name="T59" fmla="*/ 894 h 981"/>
                  <a:gd name="T60" fmla="*/ 3 w 2228"/>
                  <a:gd name="T61" fmla="*/ 812 h 981"/>
                  <a:gd name="T62" fmla="*/ 41 w 2228"/>
                  <a:gd name="T63" fmla="*/ 741 h 981"/>
                  <a:gd name="T64" fmla="*/ 110 w 2228"/>
                  <a:gd name="T65" fmla="*/ 703 h 981"/>
                  <a:gd name="T66" fmla="*/ 179 w 2228"/>
                  <a:gd name="T67" fmla="*/ 707 h 981"/>
                  <a:gd name="T68" fmla="*/ 850 w 2228"/>
                  <a:gd name="T69" fmla="*/ 226 h 981"/>
                  <a:gd name="T70" fmla="*/ 844 w 2228"/>
                  <a:gd name="T71" fmla="*/ 148 h 981"/>
                  <a:gd name="T72" fmla="*/ 882 w 2228"/>
                  <a:gd name="T73" fmla="*/ 77 h 981"/>
                  <a:gd name="T74" fmla="*/ 951 w 2228"/>
                  <a:gd name="T75" fmla="*/ 39 h 981"/>
                  <a:gd name="T76" fmla="*/ 1033 w 2228"/>
                  <a:gd name="T77" fmla="*/ 47 h 981"/>
                  <a:gd name="T78" fmla="*/ 1094 w 2228"/>
                  <a:gd name="T79" fmla="*/ 98 h 981"/>
                  <a:gd name="T80" fmla="*/ 1117 w 2228"/>
                  <a:gd name="T81" fmla="*/ 176 h 981"/>
                  <a:gd name="T82" fmla="*/ 1109 w 2228"/>
                  <a:gd name="T83" fmla="*/ 224 h 981"/>
                  <a:gd name="T84" fmla="*/ 1224 w 2228"/>
                  <a:gd name="T85" fmla="*/ 325 h 981"/>
                  <a:gd name="T86" fmla="*/ 1346 w 2228"/>
                  <a:gd name="T87" fmla="*/ 430 h 981"/>
                  <a:gd name="T88" fmla="*/ 1453 w 2228"/>
                  <a:gd name="T89" fmla="*/ 522 h 981"/>
                  <a:gd name="T90" fmla="*/ 1514 w 2228"/>
                  <a:gd name="T91" fmla="*/ 492 h 981"/>
                  <a:gd name="T92" fmla="*/ 1577 w 2228"/>
                  <a:gd name="T93" fmla="*/ 496 h 981"/>
                  <a:gd name="T94" fmla="*/ 1645 w 2228"/>
                  <a:gd name="T95" fmla="*/ 483 h 981"/>
                  <a:gd name="T96" fmla="*/ 1764 w 2228"/>
                  <a:gd name="T97" fmla="*/ 374 h 981"/>
                  <a:gd name="T98" fmla="*/ 1889 w 2228"/>
                  <a:gd name="T99" fmla="*/ 260 h 981"/>
                  <a:gd name="T100" fmla="*/ 1954 w 2228"/>
                  <a:gd name="T101" fmla="*/ 167 h 981"/>
                  <a:gd name="T102" fmla="*/ 1962 w 2228"/>
                  <a:gd name="T103" fmla="*/ 86 h 981"/>
                  <a:gd name="T104" fmla="*/ 2013 w 2228"/>
                  <a:gd name="T105" fmla="*/ 24 h 981"/>
                  <a:gd name="T106" fmla="*/ 2090 w 2228"/>
                  <a:gd name="T107" fmla="*/ 0 h 9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228" h="981">
                    <a:moveTo>
                      <a:pt x="2090" y="0"/>
                    </a:moveTo>
                    <a:lnTo>
                      <a:pt x="2118" y="3"/>
                    </a:lnTo>
                    <a:lnTo>
                      <a:pt x="2144" y="10"/>
                    </a:lnTo>
                    <a:lnTo>
                      <a:pt x="2167" y="24"/>
                    </a:lnTo>
                    <a:lnTo>
                      <a:pt x="2188" y="41"/>
                    </a:lnTo>
                    <a:lnTo>
                      <a:pt x="2205" y="61"/>
                    </a:lnTo>
                    <a:lnTo>
                      <a:pt x="2217" y="86"/>
                    </a:lnTo>
                    <a:lnTo>
                      <a:pt x="2225" y="113"/>
                    </a:lnTo>
                    <a:lnTo>
                      <a:pt x="2228" y="140"/>
                    </a:lnTo>
                    <a:lnTo>
                      <a:pt x="2225" y="169"/>
                    </a:lnTo>
                    <a:lnTo>
                      <a:pt x="2217" y="195"/>
                    </a:lnTo>
                    <a:lnTo>
                      <a:pt x="2205" y="219"/>
                    </a:lnTo>
                    <a:lnTo>
                      <a:pt x="2188" y="239"/>
                    </a:lnTo>
                    <a:lnTo>
                      <a:pt x="2167" y="256"/>
                    </a:lnTo>
                    <a:lnTo>
                      <a:pt x="2144" y="269"/>
                    </a:lnTo>
                    <a:lnTo>
                      <a:pt x="2118" y="278"/>
                    </a:lnTo>
                    <a:lnTo>
                      <a:pt x="2090" y="281"/>
                    </a:lnTo>
                    <a:lnTo>
                      <a:pt x="2067" y="279"/>
                    </a:lnTo>
                    <a:lnTo>
                      <a:pt x="2046" y="272"/>
                    </a:lnTo>
                    <a:lnTo>
                      <a:pt x="2026" y="264"/>
                    </a:lnTo>
                    <a:lnTo>
                      <a:pt x="1668" y="592"/>
                    </a:lnTo>
                    <a:lnTo>
                      <a:pt x="1671" y="604"/>
                    </a:lnTo>
                    <a:lnTo>
                      <a:pt x="1674" y="616"/>
                    </a:lnTo>
                    <a:lnTo>
                      <a:pt x="1676" y="630"/>
                    </a:lnTo>
                    <a:lnTo>
                      <a:pt x="1673" y="658"/>
                    </a:lnTo>
                    <a:lnTo>
                      <a:pt x="1665" y="685"/>
                    </a:lnTo>
                    <a:lnTo>
                      <a:pt x="1652" y="709"/>
                    </a:lnTo>
                    <a:lnTo>
                      <a:pt x="1636" y="729"/>
                    </a:lnTo>
                    <a:lnTo>
                      <a:pt x="1615" y="746"/>
                    </a:lnTo>
                    <a:lnTo>
                      <a:pt x="1592" y="760"/>
                    </a:lnTo>
                    <a:lnTo>
                      <a:pt x="1565" y="768"/>
                    </a:lnTo>
                    <a:lnTo>
                      <a:pt x="1538" y="771"/>
                    </a:lnTo>
                    <a:lnTo>
                      <a:pt x="1510" y="768"/>
                    </a:lnTo>
                    <a:lnTo>
                      <a:pt x="1483" y="760"/>
                    </a:lnTo>
                    <a:lnTo>
                      <a:pt x="1460" y="746"/>
                    </a:lnTo>
                    <a:lnTo>
                      <a:pt x="1439" y="729"/>
                    </a:lnTo>
                    <a:lnTo>
                      <a:pt x="1422" y="709"/>
                    </a:lnTo>
                    <a:lnTo>
                      <a:pt x="1410" y="685"/>
                    </a:lnTo>
                    <a:lnTo>
                      <a:pt x="1401" y="658"/>
                    </a:lnTo>
                    <a:lnTo>
                      <a:pt x="1398" y="630"/>
                    </a:lnTo>
                    <a:lnTo>
                      <a:pt x="1400" y="619"/>
                    </a:lnTo>
                    <a:lnTo>
                      <a:pt x="1404" y="606"/>
                    </a:lnTo>
                    <a:lnTo>
                      <a:pt x="1369" y="576"/>
                    </a:lnTo>
                    <a:lnTo>
                      <a:pt x="1332" y="545"/>
                    </a:lnTo>
                    <a:lnTo>
                      <a:pt x="1294" y="512"/>
                    </a:lnTo>
                    <a:lnTo>
                      <a:pt x="1256" y="479"/>
                    </a:lnTo>
                    <a:lnTo>
                      <a:pt x="1218" y="445"/>
                    </a:lnTo>
                    <a:lnTo>
                      <a:pt x="1179" y="413"/>
                    </a:lnTo>
                    <a:lnTo>
                      <a:pt x="1142" y="381"/>
                    </a:lnTo>
                    <a:lnTo>
                      <a:pt x="1107" y="350"/>
                    </a:lnTo>
                    <a:lnTo>
                      <a:pt x="1075" y="322"/>
                    </a:lnTo>
                    <a:lnTo>
                      <a:pt x="1046" y="297"/>
                    </a:lnTo>
                    <a:lnTo>
                      <a:pt x="1025" y="308"/>
                    </a:lnTo>
                    <a:lnTo>
                      <a:pt x="1002" y="315"/>
                    </a:lnTo>
                    <a:lnTo>
                      <a:pt x="979" y="317"/>
                    </a:lnTo>
                    <a:lnTo>
                      <a:pt x="957" y="315"/>
                    </a:lnTo>
                    <a:lnTo>
                      <a:pt x="937" y="310"/>
                    </a:lnTo>
                    <a:lnTo>
                      <a:pt x="918" y="300"/>
                    </a:lnTo>
                    <a:lnTo>
                      <a:pt x="901" y="289"/>
                    </a:lnTo>
                    <a:lnTo>
                      <a:pt x="870" y="314"/>
                    </a:lnTo>
                    <a:lnTo>
                      <a:pt x="836" y="341"/>
                    </a:lnTo>
                    <a:lnTo>
                      <a:pt x="798" y="371"/>
                    </a:lnTo>
                    <a:lnTo>
                      <a:pt x="757" y="404"/>
                    </a:lnTo>
                    <a:lnTo>
                      <a:pt x="713" y="440"/>
                    </a:lnTo>
                    <a:lnTo>
                      <a:pt x="668" y="476"/>
                    </a:lnTo>
                    <a:lnTo>
                      <a:pt x="621" y="513"/>
                    </a:lnTo>
                    <a:lnTo>
                      <a:pt x="574" y="551"/>
                    </a:lnTo>
                    <a:lnTo>
                      <a:pt x="527" y="590"/>
                    </a:lnTo>
                    <a:lnTo>
                      <a:pt x="480" y="628"/>
                    </a:lnTo>
                    <a:lnTo>
                      <a:pt x="433" y="667"/>
                    </a:lnTo>
                    <a:lnTo>
                      <a:pt x="388" y="703"/>
                    </a:lnTo>
                    <a:lnTo>
                      <a:pt x="346" y="737"/>
                    </a:lnTo>
                    <a:lnTo>
                      <a:pt x="305" y="770"/>
                    </a:lnTo>
                    <a:lnTo>
                      <a:pt x="269" y="801"/>
                    </a:lnTo>
                    <a:lnTo>
                      <a:pt x="274" y="820"/>
                    </a:lnTo>
                    <a:lnTo>
                      <a:pt x="277" y="840"/>
                    </a:lnTo>
                    <a:lnTo>
                      <a:pt x="274" y="869"/>
                    </a:lnTo>
                    <a:lnTo>
                      <a:pt x="265" y="894"/>
                    </a:lnTo>
                    <a:lnTo>
                      <a:pt x="253" y="919"/>
                    </a:lnTo>
                    <a:lnTo>
                      <a:pt x="236" y="939"/>
                    </a:lnTo>
                    <a:lnTo>
                      <a:pt x="215" y="956"/>
                    </a:lnTo>
                    <a:lnTo>
                      <a:pt x="192" y="969"/>
                    </a:lnTo>
                    <a:lnTo>
                      <a:pt x="166" y="978"/>
                    </a:lnTo>
                    <a:lnTo>
                      <a:pt x="138" y="981"/>
                    </a:lnTo>
                    <a:lnTo>
                      <a:pt x="110" y="978"/>
                    </a:lnTo>
                    <a:lnTo>
                      <a:pt x="84" y="969"/>
                    </a:lnTo>
                    <a:lnTo>
                      <a:pt x="61" y="956"/>
                    </a:lnTo>
                    <a:lnTo>
                      <a:pt x="41" y="939"/>
                    </a:lnTo>
                    <a:lnTo>
                      <a:pt x="23" y="919"/>
                    </a:lnTo>
                    <a:lnTo>
                      <a:pt x="10" y="894"/>
                    </a:lnTo>
                    <a:lnTo>
                      <a:pt x="3" y="869"/>
                    </a:lnTo>
                    <a:lnTo>
                      <a:pt x="0" y="840"/>
                    </a:lnTo>
                    <a:lnTo>
                      <a:pt x="3" y="812"/>
                    </a:lnTo>
                    <a:lnTo>
                      <a:pt x="10" y="786"/>
                    </a:lnTo>
                    <a:lnTo>
                      <a:pt x="23" y="761"/>
                    </a:lnTo>
                    <a:lnTo>
                      <a:pt x="41" y="741"/>
                    </a:lnTo>
                    <a:lnTo>
                      <a:pt x="61" y="724"/>
                    </a:lnTo>
                    <a:lnTo>
                      <a:pt x="84" y="711"/>
                    </a:lnTo>
                    <a:lnTo>
                      <a:pt x="110" y="703"/>
                    </a:lnTo>
                    <a:lnTo>
                      <a:pt x="138" y="700"/>
                    </a:lnTo>
                    <a:lnTo>
                      <a:pt x="159" y="702"/>
                    </a:lnTo>
                    <a:lnTo>
                      <a:pt x="179" y="707"/>
                    </a:lnTo>
                    <a:lnTo>
                      <a:pt x="197" y="716"/>
                    </a:lnTo>
                    <a:lnTo>
                      <a:pt x="215" y="727"/>
                    </a:lnTo>
                    <a:lnTo>
                      <a:pt x="850" y="226"/>
                    </a:lnTo>
                    <a:lnTo>
                      <a:pt x="844" y="202"/>
                    </a:lnTo>
                    <a:lnTo>
                      <a:pt x="841" y="176"/>
                    </a:lnTo>
                    <a:lnTo>
                      <a:pt x="844" y="148"/>
                    </a:lnTo>
                    <a:lnTo>
                      <a:pt x="852" y="122"/>
                    </a:lnTo>
                    <a:lnTo>
                      <a:pt x="865" y="98"/>
                    </a:lnTo>
                    <a:lnTo>
                      <a:pt x="882" y="77"/>
                    </a:lnTo>
                    <a:lnTo>
                      <a:pt x="902" y="59"/>
                    </a:lnTo>
                    <a:lnTo>
                      <a:pt x="926" y="47"/>
                    </a:lnTo>
                    <a:lnTo>
                      <a:pt x="951" y="39"/>
                    </a:lnTo>
                    <a:lnTo>
                      <a:pt x="979" y="36"/>
                    </a:lnTo>
                    <a:lnTo>
                      <a:pt x="1007" y="39"/>
                    </a:lnTo>
                    <a:lnTo>
                      <a:pt x="1033" y="47"/>
                    </a:lnTo>
                    <a:lnTo>
                      <a:pt x="1056" y="59"/>
                    </a:lnTo>
                    <a:lnTo>
                      <a:pt x="1077" y="77"/>
                    </a:lnTo>
                    <a:lnTo>
                      <a:pt x="1094" y="98"/>
                    </a:lnTo>
                    <a:lnTo>
                      <a:pt x="1106" y="122"/>
                    </a:lnTo>
                    <a:lnTo>
                      <a:pt x="1115" y="148"/>
                    </a:lnTo>
                    <a:lnTo>
                      <a:pt x="1117" y="176"/>
                    </a:lnTo>
                    <a:lnTo>
                      <a:pt x="1116" y="194"/>
                    </a:lnTo>
                    <a:lnTo>
                      <a:pt x="1113" y="210"/>
                    </a:lnTo>
                    <a:lnTo>
                      <a:pt x="1109" y="224"/>
                    </a:lnTo>
                    <a:lnTo>
                      <a:pt x="1144" y="256"/>
                    </a:lnTo>
                    <a:lnTo>
                      <a:pt x="1183" y="289"/>
                    </a:lnTo>
                    <a:lnTo>
                      <a:pt x="1224" y="325"/>
                    </a:lnTo>
                    <a:lnTo>
                      <a:pt x="1265" y="360"/>
                    </a:lnTo>
                    <a:lnTo>
                      <a:pt x="1306" y="395"/>
                    </a:lnTo>
                    <a:lnTo>
                      <a:pt x="1346" y="430"/>
                    </a:lnTo>
                    <a:lnTo>
                      <a:pt x="1385" y="463"/>
                    </a:lnTo>
                    <a:lnTo>
                      <a:pt x="1420" y="494"/>
                    </a:lnTo>
                    <a:lnTo>
                      <a:pt x="1453" y="522"/>
                    </a:lnTo>
                    <a:lnTo>
                      <a:pt x="1472" y="509"/>
                    </a:lnTo>
                    <a:lnTo>
                      <a:pt x="1492" y="498"/>
                    </a:lnTo>
                    <a:lnTo>
                      <a:pt x="1514" y="492"/>
                    </a:lnTo>
                    <a:lnTo>
                      <a:pt x="1538" y="490"/>
                    </a:lnTo>
                    <a:lnTo>
                      <a:pt x="1558" y="492"/>
                    </a:lnTo>
                    <a:lnTo>
                      <a:pt x="1577" y="496"/>
                    </a:lnTo>
                    <a:lnTo>
                      <a:pt x="1595" y="505"/>
                    </a:lnTo>
                    <a:lnTo>
                      <a:pt x="1611" y="514"/>
                    </a:lnTo>
                    <a:lnTo>
                      <a:pt x="1645" y="483"/>
                    </a:lnTo>
                    <a:lnTo>
                      <a:pt x="1683" y="448"/>
                    </a:lnTo>
                    <a:lnTo>
                      <a:pt x="1723" y="412"/>
                    </a:lnTo>
                    <a:lnTo>
                      <a:pt x="1764" y="374"/>
                    </a:lnTo>
                    <a:lnTo>
                      <a:pt x="1806" y="335"/>
                    </a:lnTo>
                    <a:lnTo>
                      <a:pt x="1848" y="297"/>
                    </a:lnTo>
                    <a:lnTo>
                      <a:pt x="1889" y="260"/>
                    </a:lnTo>
                    <a:lnTo>
                      <a:pt x="1926" y="224"/>
                    </a:lnTo>
                    <a:lnTo>
                      <a:pt x="1961" y="192"/>
                    </a:lnTo>
                    <a:lnTo>
                      <a:pt x="1954" y="167"/>
                    </a:lnTo>
                    <a:lnTo>
                      <a:pt x="1952" y="140"/>
                    </a:lnTo>
                    <a:lnTo>
                      <a:pt x="1954" y="113"/>
                    </a:lnTo>
                    <a:lnTo>
                      <a:pt x="1962" y="86"/>
                    </a:lnTo>
                    <a:lnTo>
                      <a:pt x="1975" y="61"/>
                    </a:lnTo>
                    <a:lnTo>
                      <a:pt x="1992" y="41"/>
                    </a:lnTo>
                    <a:lnTo>
                      <a:pt x="2013" y="24"/>
                    </a:lnTo>
                    <a:lnTo>
                      <a:pt x="2036" y="10"/>
                    </a:lnTo>
                    <a:lnTo>
                      <a:pt x="2062" y="3"/>
                    </a:lnTo>
                    <a:lnTo>
                      <a:pt x="209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EBC56F7F-2F5C-40C1-86DD-54DFA79C5450}"/>
                </a:ext>
              </a:extLst>
            </p:cNvPr>
            <p:cNvGrpSpPr/>
            <p:nvPr/>
          </p:nvGrpSpPr>
          <p:grpSpPr>
            <a:xfrm>
              <a:off x="1624248" y="2864854"/>
              <a:ext cx="368713" cy="344188"/>
              <a:chOff x="2319338" y="2860676"/>
              <a:chExt cx="619125" cy="593725"/>
            </a:xfrm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</a:gradFill>
          </p:grpSpPr>
          <p:sp>
            <p:nvSpPr>
              <p:cNvPr id="134" name="Freeform 73">
                <a:extLst>
                  <a:ext uri="{FF2B5EF4-FFF2-40B4-BE49-F238E27FC236}">
                    <a16:creationId xmlns:a16="http://schemas.microsoft.com/office/drawing/2014/main" id="{1AE806B1-274D-482F-A27C-3609FACC3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238" y="2940051"/>
                <a:ext cx="142875" cy="138113"/>
              </a:xfrm>
              <a:custGeom>
                <a:avLst/>
                <a:gdLst>
                  <a:gd name="T0" fmla="*/ 317 w 807"/>
                  <a:gd name="T1" fmla="*/ 0 h 785"/>
                  <a:gd name="T2" fmla="*/ 360 w 807"/>
                  <a:gd name="T3" fmla="*/ 3 h 785"/>
                  <a:gd name="T4" fmla="*/ 401 w 807"/>
                  <a:gd name="T5" fmla="*/ 12 h 785"/>
                  <a:gd name="T6" fmla="*/ 440 w 807"/>
                  <a:gd name="T7" fmla="*/ 25 h 785"/>
                  <a:gd name="T8" fmla="*/ 476 w 807"/>
                  <a:gd name="T9" fmla="*/ 43 h 785"/>
                  <a:gd name="T10" fmla="*/ 510 w 807"/>
                  <a:gd name="T11" fmla="*/ 65 h 785"/>
                  <a:gd name="T12" fmla="*/ 541 w 807"/>
                  <a:gd name="T13" fmla="*/ 92 h 785"/>
                  <a:gd name="T14" fmla="*/ 567 w 807"/>
                  <a:gd name="T15" fmla="*/ 123 h 785"/>
                  <a:gd name="T16" fmla="*/ 590 w 807"/>
                  <a:gd name="T17" fmla="*/ 157 h 785"/>
                  <a:gd name="T18" fmla="*/ 608 w 807"/>
                  <a:gd name="T19" fmla="*/ 193 h 785"/>
                  <a:gd name="T20" fmla="*/ 622 w 807"/>
                  <a:gd name="T21" fmla="*/ 232 h 785"/>
                  <a:gd name="T22" fmla="*/ 631 w 807"/>
                  <a:gd name="T23" fmla="*/ 274 h 785"/>
                  <a:gd name="T24" fmla="*/ 633 w 807"/>
                  <a:gd name="T25" fmla="*/ 317 h 785"/>
                  <a:gd name="T26" fmla="*/ 631 w 807"/>
                  <a:gd name="T27" fmla="*/ 358 h 785"/>
                  <a:gd name="T28" fmla="*/ 622 w 807"/>
                  <a:gd name="T29" fmla="*/ 396 h 785"/>
                  <a:gd name="T30" fmla="*/ 609 w 807"/>
                  <a:gd name="T31" fmla="*/ 433 h 785"/>
                  <a:gd name="T32" fmla="*/ 593 w 807"/>
                  <a:gd name="T33" fmla="*/ 468 h 785"/>
                  <a:gd name="T34" fmla="*/ 807 w 807"/>
                  <a:gd name="T35" fmla="*/ 670 h 785"/>
                  <a:gd name="T36" fmla="*/ 767 w 807"/>
                  <a:gd name="T37" fmla="*/ 706 h 785"/>
                  <a:gd name="T38" fmla="*/ 731 w 807"/>
                  <a:gd name="T39" fmla="*/ 744 h 785"/>
                  <a:gd name="T40" fmla="*/ 697 w 807"/>
                  <a:gd name="T41" fmla="*/ 785 h 785"/>
                  <a:gd name="T42" fmla="*/ 484 w 807"/>
                  <a:gd name="T43" fmla="*/ 584 h 785"/>
                  <a:gd name="T44" fmla="*/ 446 w 807"/>
                  <a:gd name="T45" fmla="*/ 605 h 785"/>
                  <a:gd name="T46" fmla="*/ 405 w 807"/>
                  <a:gd name="T47" fmla="*/ 620 h 785"/>
                  <a:gd name="T48" fmla="*/ 362 w 807"/>
                  <a:gd name="T49" fmla="*/ 630 h 785"/>
                  <a:gd name="T50" fmla="*/ 317 w 807"/>
                  <a:gd name="T51" fmla="*/ 633 h 785"/>
                  <a:gd name="T52" fmla="*/ 274 w 807"/>
                  <a:gd name="T53" fmla="*/ 631 h 785"/>
                  <a:gd name="T54" fmla="*/ 232 w 807"/>
                  <a:gd name="T55" fmla="*/ 622 h 785"/>
                  <a:gd name="T56" fmla="*/ 193 w 807"/>
                  <a:gd name="T57" fmla="*/ 608 h 785"/>
                  <a:gd name="T58" fmla="*/ 157 w 807"/>
                  <a:gd name="T59" fmla="*/ 590 h 785"/>
                  <a:gd name="T60" fmla="*/ 123 w 807"/>
                  <a:gd name="T61" fmla="*/ 567 h 785"/>
                  <a:gd name="T62" fmla="*/ 92 w 807"/>
                  <a:gd name="T63" fmla="*/ 540 h 785"/>
                  <a:gd name="T64" fmla="*/ 66 w 807"/>
                  <a:gd name="T65" fmla="*/ 510 h 785"/>
                  <a:gd name="T66" fmla="*/ 43 w 807"/>
                  <a:gd name="T67" fmla="*/ 476 h 785"/>
                  <a:gd name="T68" fmla="*/ 25 w 807"/>
                  <a:gd name="T69" fmla="*/ 439 h 785"/>
                  <a:gd name="T70" fmla="*/ 11 w 807"/>
                  <a:gd name="T71" fmla="*/ 401 h 785"/>
                  <a:gd name="T72" fmla="*/ 3 w 807"/>
                  <a:gd name="T73" fmla="*/ 360 h 785"/>
                  <a:gd name="T74" fmla="*/ 0 w 807"/>
                  <a:gd name="T75" fmla="*/ 317 h 785"/>
                  <a:gd name="T76" fmla="*/ 3 w 807"/>
                  <a:gd name="T77" fmla="*/ 274 h 785"/>
                  <a:gd name="T78" fmla="*/ 11 w 807"/>
                  <a:gd name="T79" fmla="*/ 232 h 785"/>
                  <a:gd name="T80" fmla="*/ 25 w 807"/>
                  <a:gd name="T81" fmla="*/ 193 h 785"/>
                  <a:gd name="T82" fmla="*/ 43 w 807"/>
                  <a:gd name="T83" fmla="*/ 157 h 785"/>
                  <a:gd name="T84" fmla="*/ 66 w 807"/>
                  <a:gd name="T85" fmla="*/ 123 h 785"/>
                  <a:gd name="T86" fmla="*/ 92 w 807"/>
                  <a:gd name="T87" fmla="*/ 92 h 785"/>
                  <a:gd name="T88" fmla="*/ 123 w 807"/>
                  <a:gd name="T89" fmla="*/ 65 h 785"/>
                  <a:gd name="T90" fmla="*/ 157 w 807"/>
                  <a:gd name="T91" fmla="*/ 43 h 785"/>
                  <a:gd name="T92" fmla="*/ 193 w 807"/>
                  <a:gd name="T93" fmla="*/ 25 h 785"/>
                  <a:gd name="T94" fmla="*/ 232 w 807"/>
                  <a:gd name="T95" fmla="*/ 12 h 785"/>
                  <a:gd name="T96" fmla="*/ 274 w 807"/>
                  <a:gd name="T97" fmla="*/ 3 h 785"/>
                  <a:gd name="T98" fmla="*/ 317 w 807"/>
                  <a:gd name="T99" fmla="*/ 0 h 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07" h="785">
                    <a:moveTo>
                      <a:pt x="317" y="0"/>
                    </a:moveTo>
                    <a:lnTo>
                      <a:pt x="360" y="3"/>
                    </a:lnTo>
                    <a:lnTo>
                      <a:pt x="401" y="12"/>
                    </a:lnTo>
                    <a:lnTo>
                      <a:pt x="440" y="25"/>
                    </a:lnTo>
                    <a:lnTo>
                      <a:pt x="476" y="43"/>
                    </a:lnTo>
                    <a:lnTo>
                      <a:pt x="510" y="65"/>
                    </a:lnTo>
                    <a:lnTo>
                      <a:pt x="541" y="92"/>
                    </a:lnTo>
                    <a:lnTo>
                      <a:pt x="567" y="123"/>
                    </a:lnTo>
                    <a:lnTo>
                      <a:pt x="590" y="157"/>
                    </a:lnTo>
                    <a:lnTo>
                      <a:pt x="608" y="193"/>
                    </a:lnTo>
                    <a:lnTo>
                      <a:pt x="622" y="232"/>
                    </a:lnTo>
                    <a:lnTo>
                      <a:pt x="631" y="274"/>
                    </a:lnTo>
                    <a:lnTo>
                      <a:pt x="633" y="317"/>
                    </a:lnTo>
                    <a:lnTo>
                      <a:pt x="631" y="358"/>
                    </a:lnTo>
                    <a:lnTo>
                      <a:pt x="622" y="396"/>
                    </a:lnTo>
                    <a:lnTo>
                      <a:pt x="609" y="433"/>
                    </a:lnTo>
                    <a:lnTo>
                      <a:pt x="593" y="468"/>
                    </a:lnTo>
                    <a:lnTo>
                      <a:pt x="807" y="670"/>
                    </a:lnTo>
                    <a:lnTo>
                      <a:pt x="767" y="706"/>
                    </a:lnTo>
                    <a:lnTo>
                      <a:pt x="731" y="744"/>
                    </a:lnTo>
                    <a:lnTo>
                      <a:pt x="697" y="785"/>
                    </a:lnTo>
                    <a:lnTo>
                      <a:pt x="484" y="584"/>
                    </a:lnTo>
                    <a:lnTo>
                      <a:pt x="446" y="605"/>
                    </a:lnTo>
                    <a:lnTo>
                      <a:pt x="405" y="620"/>
                    </a:lnTo>
                    <a:lnTo>
                      <a:pt x="362" y="630"/>
                    </a:lnTo>
                    <a:lnTo>
                      <a:pt x="317" y="633"/>
                    </a:lnTo>
                    <a:lnTo>
                      <a:pt x="274" y="631"/>
                    </a:lnTo>
                    <a:lnTo>
                      <a:pt x="232" y="622"/>
                    </a:lnTo>
                    <a:lnTo>
                      <a:pt x="193" y="608"/>
                    </a:lnTo>
                    <a:lnTo>
                      <a:pt x="157" y="590"/>
                    </a:lnTo>
                    <a:lnTo>
                      <a:pt x="123" y="567"/>
                    </a:lnTo>
                    <a:lnTo>
                      <a:pt x="92" y="540"/>
                    </a:lnTo>
                    <a:lnTo>
                      <a:pt x="66" y="510"/>
                    </a:lnTo>
                    <a:lnTo>
                      <a:pt x="43" y="476"/>
                    </a:lnTo>
                    <a:lnTo>
                      <a:pt x="25" y="439"/>
                    </a:lnTo>
                    <a:lnTo>
                      <a:pt x="11" y="401"/>
                    </a:lnTo>
                    <a:lnTo>
                      <a:pt x="3" y="360"/>
                    </a:lnTo>
                    <a:lnTo>
                      <a:pt x="0" y="317"/>
                    </a:lnTo>
                    <a:lnTo>
                      <a:pt x="3" y="274"/>
                    </a:lnTo>
                    <a:lnTo>
                      <a:pt x="11" y="232"/>
                    </a:lnTo>
                    <a:lnTo>
                      <a:pt x="25" y="193"/>
                    </a:lnTo>
                    <a:lnTo>
                      <a:pt x="43" y="157"/>
                    </a:lnTo>
                    <a:lnTo>
                      <a:pt x="66" y="123"/>
                    </a:lnTo>
                    <a:lnTo>
                      <a:pt x="92" y="92"/>
                    </a:lnTo>
                    <a:lnTo>
                      <a:pt x="123" y="65"/>
                    </a:lnTo>
                    <a:lnTo>
                      <a:pt x="157" y="43"/>
                    </a:lnTo>
                    <a:lnTo>
                      <a:pt x="193" y="25"/>
                    </a:lnTo>
                    <a:lnTo>
                      <a:pt x="232" y="12"/>
                    </a:lnTo>
                    <a:lnTo>
                      <a:pt x="274" y="3"/>
                    </a:lnTo>
                    <a:lnTo>
                      <a:pt x="3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35" name="Freeform 74">
                <a:extLst>
                  <a:ext uri="{FF2B5EF4-FFF2-40B4-BE49-F238E27FC236}">
                    <a16:creationId xmlns:a16="http://schemas.microsoft.com/office/drawing/2014/main" id="{1E79F2F0-B672-48BD-9204-06605EF5E3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6051" y="2860676"/>
                <a:ext cx="144463" cy="193675"/>
              </a:xfrm>
              <a:custGeom>
                <a:avLst/>
                <a:gdLst>
                  <a:gd name="T0" fmla="*/ 508 w 825"/>
                  <a:gd name="T1" fmla="*/ 0 h 1098"/>
                  <a:gd name="T2" fmla="*/ 508 w 825"/>
                  <a:gd name="T3" fmla="*/ 0 h 1098"/>
                  <a:gd name="T4" fmla="*/ 551 w 825"/>
                  <a:gd name="T5" fmla="*/ 4 h 1098"/>
                  <a:gd name="T6" fmla="*/ 592 w 825"/>
                  <a:gd name="T7" fmla="*/ 12 h 1098"/>
                  <a:gd name="T8" fmla="*/ 632 w 825"/>
                  <a:gd name="T9" fmla="*/ 26 h 1098"/>
                  <a:gd name="T10" fmla="*/ 668 w 825"/>
                  <a:gd name="T11" fmla="*/ 44 h 1098"/>
                  <a:gd name="T12" fmla="*/ 702 w 825"/>
                  <a:gd name="T13" fmla="*/ 67 h 1098"/>
                  <a:gd name="T14" fmla="*/ 732 w 825"/>
                  <a:gd name="T15" fmla="*/ 94 h 1098"/>
                  <a:gd name="T16" fmla="*/ 759 w 825"/>
                  <a:gd name="T17" fmla="*/ 124 h 1098"/>
                  <a:gd name="T18" fmla="*/ 781 w 825"/>
                  <a:gd name="T19" fmla="*/ 157 h 1098"/>
                  <a:gd name="T20" fmla="*/ 800 w 825"/>
                  <a:gd name="T21" fmla="*/ 194 h 1098"/>
                  <a:gd name="T22" fmla="*/ 814 w 825"/>
                  <a:gd name="T23" fmla="*/ 234 h 1098"/>
                  <a:gd name="T24" fmla="*/ 822 w 825"/>
                  <a:gd name="T25" fmla="*/ 274 h 1098"/>
                  <a:gd name="T26" fmla="*/ 825 w 825"/>
                  <a:gd name="T27" fmla="*/ 317 h 1098"/>
                  <a:gd name="T28" fmla="*/ 822 w 825"/>
                  <a:gd name="T29" fmla="*/ 360 h 1098"/>
                  <a:gd name="T30" fmla="*/ 814 w 825"/>
                  <a:gd name="T31" fmla="*/ 401 h 1098"/>
                  <a:gd name="T32" fmla="*/ 800 w 825"/>
                  <a:gd name="T33" fmla="*/ 441 h 1098"/>
                  <a:gd name="T34" fmla="*/ 781 w 825"/>
                  <a:gd name="T35" fmla="*/ 478 h 1098"/>
                  <a:gd name="T36" fmla="*/ 759 w 825"/>
                  <a:gd name="T37" fmla="*/ 511 h 1098"/>
                  <a:gd name="T38" fmla="*/ 732 w 825"/>
                  <a:gd name="T39" fmla="*/ 541 h 1098"/>
                  <a:gd name="T40" fmla="*/ 702 w 825"/>
                  <a:gd name="T41" fmla="*/ 568 h 1098"/>
                  <a:gd name="T42" fmla="*/ 668 w 825"/>
                  <a:gd name="T43" fmla="*/ 590 h 1098"/>
                  <a:gd name="T44" fmla="*/ 632 w 825"/>
                  <a:gd name="T45" fmla="*/ 609 h 1098"/>
                  <a:gd name="T46" fmla="*/ 592 w 825"/>
                  <a:gd name="T47" fmla="*/ 623 h 1098"/>
                  <a:gd name="T48" fmla="*/ 551 w 825"/>
                  <a:gd name="T49" fmla="*/ 631 h 1098"/>
                  <a:gd name="T50" fmla="*/ 508 w 825"/>
                  <a:gd name="T51" fmla="*/ 634 h 1098"/>
                  <a:gd name="T52" fmla="*/ 478 w 825"/>
                  <a:gd name="T53" fmla="*/ 632 h 1098"/>
                  <a:gd name="T54" fmla="*/ 449 w 825"/>
                  <a:gd name="T55" fmla="*/ 627 h 1098"/>
                  <a:gd name="T56" fmla="*/ 420 w 825"/>
                  <a:gd name="T57" fmla="*/ 620 h 1098"/>
                  <a:gd name="T58" fmla="*/ 138 w 825"/>
                  <a:gd name="T59" fmla="*/ 1098 h 1098"/>
                  <a:gd name="T60" fmla="*/ 94 w 825"/>
                  <a:gd name="T61" fmla="*/ 1066 h 1098"/>
                  <a:gd name="T62" fmla="*/ 48 w 825"/>
                  <a:gd name="T63" fmla="*/ 1040 h 1098"/>
                  <a:gd name="T64" fmla="*/ 0 w 825"/>
                  <a:gd name="T65" fmla="*/ 1016 h 1098"/>
                  <a:gd name="T66" fmla="*/ 283 w 825"/>
                  <a:gd name="T67" fmla="*/ 540 h 1098"/>
                  <a:gd name="T68" fmla="*/ 257 w 825"/>
                  <a:gd name="T69" fmla="*/ 510 h 1098"/>
                  <a:gd name="T70" fmla="*/ 234 w 825"/>
                  <a:gd name="T71" fmla="*/ 476 h 1098"/>
                  <a:gd name="T72" fmla="*/ 216 w 825"/>
                  <a:gd name="T73" fmla="*/ 440 h 1098"/>
                  <a:gd name="T74" fmla="*/ 203 w 825"/>
                  <a:gd name="T75" fmla="*/ 401 h 1098"/>
                  <a:gd name="T76" fmla="*/ 195 w 825"/>
                  <a:gd name="T77" fmla="*/ 360 h 1098"/>
                  <a:gd name="T78" fmla="*/ 191 w 825"/>
                  <a:gd name="T79" fmla="*/ 317 h 1098"/>
                  <a:gd name="T80" fmla="*/ 195 w 825"/>
                  <a:gd name="T81" fmla="*/ 274 h 1098"/>
                  <a:gd name="T82" fmla="*/ 203 w 825"/>
                  <a:gd name="T83" fmla="*/ 233 h 1098"/>
                  <a:gd name="T84" fmla="*/ 216 w 825"/>
                  <a:gd name="T85" fmla="*/ 194 h 1098"/>
                  <a:gd name="T86" fmla="*/ 234 w 825"/>
                  <a:gd name="T87" fmla="*/ 157 h 1098"/>
                  <a:gd name="T88" fmla="*/ 258 w 825"/>
                  <a:gd name="T89" fmla="*/ 124 h 1098"/>
                  <a:gd name="T90" fmla="*/ 284 w 825"/>
                  <a:gd name="T91" fmla="*/ 94 h 1098"/>
                  <a:gd name="T92" fmla="*/ 315 w 825"/>
                  <a:gd name="T93" fmla="*/ 67 h 1098"/>
                  <a:gd name="T94" fmla="*/ 348 w 825"/>
                  <a:gd name="T95" fmla="*/ 44 h 1098"/>
                  <a:gd name="T96" fmla="*/ 385 w 825"/>
                  <a:gd name="T97" fmla="*/ 26 h 1098"/>
                  <a:gd name="T98" fmla="*/ 423 w 825"/>
                  <a:gd name="T99" fmla="*/ 12 h 1098"/>
                  <a:gd name="T100" fmla="*/ 465 w 825"/>
                  <a:gd name="T101" fmla="*/ 4 h 1098"/>
                  <a:gd name="T102" fmla="*/ 508 w 825"/>
                  <a:gd name="T103" fmla="*/ 0 h 10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25" h="1098">
                    <a:moveTo>
                      <a:pt x="508" y="0"/>
                    </a:moveTo>
                    <a:lnTo>
                      <a:pt x="508" y="0"/>
                    </a:lnTo>
                    <a:lnTo>
                      <a:pt x="551" y="4"/>
                    </a:lnTo>
                    <a:lnTo>
                      <a:pt x="592" y="12"/>
                    </a:lnTo>
                    <a:lnTo>
                      <a:pt x="632" y="26"/>
                    </a:lnTo>
                    <a:lnTo>
                      <a:pt x="668" y="44"/>
                    </a:lnTo>
                    <a:lnTo>
                      <a:pt x="702" y="67"/>
                    </a:lnTo>
                    <a:lnTo>
                      <a:pt x="732" y="94"/>
                    </a:lnTo>
                    <a:lnTo>
                      <a:pt x="759" y="124"/>
                    </a:lnTo>
                    <a:lnTo>
                      <a:pt x="781" y="157"/>
                    </a:lnTo>
                    <a:lnTo>
                      <a:pt x="800" y="194"/>
                    </a:lnTo>
                    <a:lnTo>
                      <a:pt x="814" y="234"/>
                    </a:lnTo>
                    <a:lnTo>
                      <a:pt x="822" y="274"/>
                    </a:lnTo>
                    <a:lnTo>
                      <a:pt x="825" y="317"/>
                    </a:lnTo>
                    <a:lnTo>
                      <a:pt x="822" y="360"/>
                    </a:lnTo>
                    <a:lnTo>
                      <a:pt x="814" y="401"/>
                    </a:lnTo>
                    <a:lnTo>
                      <a:pt x="800" y="441"/>
                    </a:lnTo>
                    <a:lnTo>
                      <a:pt x="781" y="478"/>
                    </a:lnTo>
                    <a:lnTo>
                      <a:pt x="759" y="511"/>
                    </a:lnTo>
                    <a:lnTo>
                      <a:pt x="732" y="541"/>
                    </a:lnTo>
                    <a:lnTo>
                      <a:pt x="702" y="568"/>
                    </a:lnTo>
                    <a:lnTo>
                      <a:pt x="668" y="590"/>
                    </a:lnTo>
                    <a:lnTo>
                      <a:pt x="632" y="609"/>
                    </a:lnTo>
                    <a:lnTo>
                      <a:pt x="592" y="623"/>
                    </a:lnTo>
                    <a:lnTo>
                      <a:pt x="551" y="631"/>
                    </a:lnTo>
                    <a:lnTo>
                      <a:pt x="508" y="634"/>
                    </a:lnTo>
                    <a:lnTo>
                      <a:pt x="478" y="632"/>
                    </a:lnTo>
                    <a:lnTo>
                      <a:pt x="449" y="627"/>
                    </a:lnTo>
                    <a:lnTo>
                      <a:pt x="420" y="620"/>
                    </a:lnTo>
                    <a:lnTo>
                      <a:pt x="138" y="1098"/>
                    </a:lnTo>
                    <a:lnTo>
                      <a:pt x="94" y="1066"/>
                    </a:lnTo>
                    <a:lnTo>
                      <a:pt x="48" y="1040"/>
                    </a:lnTo>
                    <a:lnTo>
                      <a:pt x="0" y="1016"/>
                    </a:lnTo>
                    <a:lnTo>
                      <a:pt x="283" y="540"/>
                    </a:lnTo>
                    <a:lnTo>
                      <a:pt x="257" y="510"/>
                    </a:lnTo>
                    <a:lnTo>
                      <a:pt x="234" y="476"/>
                    </a:lnTo>
                    <a:lnTo>
                      <a:pt x="216" y="440"/>
                    </a:lnTo>
                    <a:lnTo>
                      <a:pt x="203" y="401"/>
                    </a:lnTo>
                    <a:lnTo>
                      <a:pt x="195" y="360"/>
                    </a:lnTo>
                    <a:lnTo>
                      <a:pt x="191" y="317"/>
                    </a:lnTo>
                    <a:lnTo>
                      <a:pt x="195" y="274"/>
                    </a:lnTo>
                    <a:lnTo>
                      <a:pt x="203" y="233"/>
                    </a:lnTo>
                    <a:lnTo>
                      <a:pt x="216" y="194"/>
                    </a:lnTo>
                    <a:lnTo>
                      <a:pt x="234" y="157"/>
                    </a:lnTo>
                    <a:lnTo>
                      <a:pt x="258" y="124"/>
                    </a:lnTo>
                    <a:lnTo>
                      <a:pt x="284" y="94"/>
                    </a:lnTo>
                    <a:lnTo>
                      <a:pt x="315" y="67"/>
                    </a:lnTo>
                    <a:lnTo>
                      <a:pt x="348" y="44"/>
                    </a:lnTo>
                    <a:lnTo>
                      <a:pt x="385" y="26"/>
                    </a:lnTo>
                    <a:lnTo>
                      <a:pt x="423" y="12"/>
                    </a:lnTo>
                    <a:lnTo>
                      <a:pt x="465" y="4"/>
                    </a:lnTo>
                    <a:lnTo>
                      <a:pt x="50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36" name="Freeform 75">
                <a:extLst>
                  <a:ext uri="{FF2B5EF4-FFF2-40B4-BE49-F238E27FC236}">
                    <a16:creationId xmlns:a16="http://schemas.microsoft.com/office/drawing/2014/main" id="{10812DBF-7AF9-482C-92E9-E9A0033AB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7488" y="3124201"/>
                <a:ext cx="180975" cy="111125"/>
              </a:xfrm>
              <a:custGeom>
                <a:avLst/>
                <a:gdLst>
                  <a:gd name="T0" fmla="*/ 706 w 1022"/>
                  <a:gd name="T1" fmla="*/ 0 h 633"/>
                  <a:gd name="T2" fmla="*/ 749 w 1022"/>
                  <a:gd name="T3" fmla="*/ 2 h 633"/>
                  <a:gd name="T4" fmla="*/ 790 w 1022"/>
                  <a:gd name="T5" fmla="*/ 11 h 633"/>
                  <a:gd name="T6" fmla="*/ 829 w 1022"/>
                  <a:gd name="T7" fmla="*/ 25 h 633"/>
                  <a:gd name="T8" fmla="*/ 866 w 1022"/>
                  <a:gd name="T9" fmla="*/ 43 h 633"/>
                  <a:gd name="T10" fmla="*/ 900 w 1022"/>
                  <a:gd name="T11" fmla="*/ 66 h 633"/>
                  <a:gd name="T12" fmla="*/ 930 w 1022"/>
                  <a:gd name="T13" fmla="*/ 93 h 633"/>
                  <a:gd name="T14" fmla="*/ 957 w 1022"/>
                  <a:gd name="T15" fmla="*/ 123 h 633"/>
                  <a:gd name="T16" fmla="*/ 979 w 1022"/>
                  <a:gd name="T17" fmla="*/ 157 h 633"/>
                  <a:gd name="T18" fmla="*/ 998 w 1022"/>
                  <a:gd name="T19" fmla="*/ 194 h 633"/>
                  <a:gd name="T20" fmla="*/ 1012 w 1022"/>
                  <a:gd name="T21" fmla="*/ 232 h 633"/>
                  <a:gd name="T22" fmla="*/ 1020 w 1022"/>
                  <a:gd name="T23" fmla="*/ 273 h 633"/>
                  <a:gd name="T24" fmla="*/ 1022 w 1022"/>
                  <a:gd name="T25" fmla="*/ 316 h 633"/>
                  <a:gd name="T26" fmla="*/ 1020 w 1022"/>
                  <a:gd name="T27" fmla="*/ 359 h 633"/>
                  <a:gd name="T28" fmla="*/ 1012 w 1022"/>
                  <a:gd name="T29" fmla="*/ 401 h 633"/>
                  <a:gd name="T30" fmla="*/ 998 w 1022"/>
                  <a:gd name="T31" fmla="*/ 440 h 633"/>
                  <a:gd name="T32" fmla="*/ 979 w 1022"/>
                  <a:gd name="T33" fmla="*/ 476 h 633"/>
                  <a:gd name="T34" fmla="*/ 957 w 1022"/>
                  <a:gd name="T35" fmla="*/ 510 h 633"/>
                  <a:gd name="T36" fmla="*/ 930 w 1022"/>
                  <a:gd name="T37" fmla="*/ 541 h 633"/>
                  <a:gd name="T38" fmla="*/ 900 w 1022"/>
                  <a:gd name="T39" fmla="*/ 567 h 633"/>
                  <a:gd name="T40" fmla="*/ 866 w 1022"/>
                  <a:gd name="T41" fmla="*/ 590 h 633"/>
                  <a:gd name="T42" fmla="*/ 829 w 1022"/>
                  <a:gd name="T43" fmla="*/ 608 h 633"/>
                  <a:gd name="T44" fmla="*/ 790 w 1022"/>
                  <a:gd name="T45" fmla="*/ 621 h 633"/>
                  <a:gd name="T46" fmla="*/ 749 w 1022"/>
                  <a:gd name="T47" fmla="*/ 630 h 633"/>
                  <a:gd name="T48" fmla="*/ 706 w 1022"/>
                  <a:gd name="T49" fmla="*/ 633 h 633"/>
                  <a:gd name="T50" fmla="*/ 663 w 1022"/>
                  <a:gd name="T51" fmla="*/ 630 h 633"/>
                  <a:gd name="T52" fmla="*/ 624 w 1022"/>
                  <a:gd name="T53" fmla="*/ 622 h 633"/>
                  <a:gd name="T54" fmla="*/ 585 w 1022"/>
                  <a:gd name="T55" fmla="*/ 608 h 633"/>
                  <a:gd name="T56" fmla="*/ 549 w 1022"/>
                  <a:gd name="T57" fmla="*/ 591 h 633"/>
                  <a:gd name="T58" fmla="*/ 515 w 1022"/>
                  <a:gd name="T59" fmla="*/ 569 h 633"/>
                  <a:gd name="T60" fmla="*/ 485 w 1022"/>
                  <a:gd name="T61" fmla="*/ 543 h 633"/>
                  <a:gd name="T62" fmla="*/ 459 w 1022"/>
                  <a:gd name="T63" fmla="*/ 513 h 633"/>
                  <a:gd name="T64" fmla="*/ 436 w 1022"/>
                  <a:gd name="T65" fmla="*/ 480 h 633"/>
                  <a:gd name="T66" fmla="*/ 417 w 1022"/>
                  <a:gd name="T67" fmla="*/ 444 h 633"/>
                  <a:gd name="T68" fmla="*/ 403 w 1022"/>
                  <a:gd name="T69" fmla="*/ 406 h 633"/>
                  <a:gd name="T70" fmla="*/ 395 w 1022"/>
                  <a:gd name="T71" fmla="*/ 366 h 633"/>
                  <a:gd name="T72" fmla="*/ 0 w 1022"/>
                  <a:gd name="T73" fmla="*/ 327 h 633"/>
                  <a:gd name="T74" fmla="*/ 9 w 1022"/>
                  <a:gd name="T75" fmla="*/ 279 h 633"/>
                  <a:gd name="T76" fmla="*/ 14 w 1022"/>
                  <a:gd name="T77" fmla="*/ 228 h 633"/>
                  <a:gd name="T78" fmla="*/ 17 w 1022"/>
                  <a:gd name="T79" fmla="*/ 177 h 633"/>
                  <a:gd name="T80" fmla="*/ 16 w 1022"/>
                  <a:gd name="T81" fmla="*/ 168 h 633"/>
                  <a:gd name="T82" fmla="*/ 410 w 1022"/>
                  <a:gd name="T83" fmla="*/ 208 h 633"/>
                  <a:gd name="T84" fmla="*/ 427 w 1022"/>
                  <a:gd name="T85" fmla="*/ 168 h 633"/>
                  <a:gd name="T86" fmla="*/ 450 w 1022"/>
                  <a:gd name="T87" fmla="*/ 132 h 633"/>
                  <a:gd name="T88" fmla="*/ 477 w 1022"/>
                  <a:gd name="T89" fmla="*/ 100 h 633"/>
                  <a:gd name="T90" fmla="*/ 508 w 1022"/>
                  <a:gd name="T91" fmla="*/ 71 h 633"/>
                  <a:gd name="T92" fmla="*/ 541 w 1022"/>
                  <a:gd name="T93" fmla="*/ 46 h 633"/>
                  <a:gd name="T94" fmla="*/ 579 w 1022"/>
                  <a:gd name="T95" fmla="*/ 27 h 633"/>
                  <a:gd name="T96" fmla="*/ 619 w 1022"/>
                  <a:gd name="T97" fmla="*/ 12 h 633"/>
                  <a:gd name="T98" fmla="*/ 661 w 1022"/>
                  <a:gd name="T99" fmla="*/ 4 h 633"/>
                  <a:gd name="T100" fmla="*/ 706 w 1022"/>
                  <a:gd name="T101" fmla="*/ 0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22" h="633">
                    <a:moveTo>
                      <a:pt x="706" y="0"/>
                    </a:moveTo>
                    <a:lnTo>
                      <a:pt x="749" y="2"/>
                    </a:lnTo>
                    <a:lnTo>
                      <a:pt x="790" y="11"/>
                    </a:lnTo>
                    <a:lnTo>
                      <a:pt x="829" y="25"/>
                    </a:lnTo>
                    <a:lnTo>
                      <a:pt x="866" y="43"/>
                    </a:lnTo>
                    <a:lnTo>
                      <a:pt x="900" y="66"/>
                    </a:lnTo>
                    <a:lnTo>
                      <a:pt x="930" y="93"/>
                    </a:lnTo>
                    <a:lnTo>
                      <a:pt x="957" y="123"/>
                    </a:lnTo>
                    <a:lnTo>
                      <a:pt x="979" y="157"/>
                    </a:lnTo>
                    <a:lnTo>
                      <a:pt x="998" y="194"/>
                    </a:lnTo>
                    <a:lnTo>
                      <a:pt x="1012" y="232"/>
                    </a:lnTo>
                    <a:lnTo>
                      <a:pt x="1020" y="273"/>
                    </a:lnTo>
                    <a:lnTo>
                      <a:pt x="1022" y="316"/>
                    </a:lnTo>
                    <a:lnTo>
                      <a:pt x="1020" y="359"/>
                    </a:lnTo>
                    <a:lnTo>
                      <a:pt x="1012" y="401"/>
                    </a:lnTo>
                    <a:lnTo>
                      <a:pt x="998" y="440"/>
                    </a:lnTo>
                    <a:lnTo>
                      <a:pt x="979" y="476"/>
                    </a:lnTo>
                    <a:lnTo>
                      <a:pt x="957" y="510"/>
                    </a:lnTo>
                    <a:lnTo>
                      <a:pt x="930" y="541"/>
                    </a:lnTo>
                    <a:lnTo>
                      <a:pt x="900" y="567"/>
                    </a:lnTo>
                    <a:lnTo>
                      <a:pt x="866" y="590"/>
                    </a:lnTo>
                    <a:lnTo>
                      <a:pt x="829" y="608"/>
                    </a:lnTo>
                    <a:lnTo>
                      <a:pt x="790" y="621"/>
                    </a:lnTo>
                    <a:lnTo>
                      <a:pt x="749" y="630"/>
                    </a:lnTo>
                    <a:lnTo>
                      <a:pt x="706" y="633"/>
                    </a:lnTo>
                    <a:lnTo>
                      <a:pt x="663" y="630"/>
                    </a:lnTo>
                    <a:lnTo>
                      <a:pt x="624" y="622"/>
                    </a:lnTo>
                    <a:lnTo>
                      <a:pt x="585" y="608"/>
                    </a:lnTo>
                    <a:lnTo>
                      <a:pt x="549" y="591"/>
                    </a:lnTo>
                    <a:lnTo>
                      <a:pt x="515" y="569"/>
                    </a:lnTo>
                    <a:lnTo>
                      <a:pt x="485" y="543"/>
                    </a:lnTo>
                    <a:lnTo>
                      <a:pt x="459" y="513"/>
                    </a:lnTo>
                    <a:lnTo>
                      <a:pt x="436" y="480"/>
                    </a:lnTo>
                    <a:lnTo>
                      <a:pt x="417" y="444"/>
                    </a:lnTo>
                    <a:lnTo>
                      <a:pt x="403" y="406"/>
                    </a:lnTo>
                    <a:lnTo>
                      <a:pt x="395" y="366"/>
                    </a:lnTo>
                    <a:lnTo>
                      <a:pt x="0" y="327"/>
                    </a:lnTo>
                    <a:lnTo>
                      <a:pt x="9" y="279"/>
                    </a:lnTo>
                    <a:lnTo>
                      <a:pt x="14" y="228"/>
                    </a:lnTo>
                    <a:lnTo>
                      <a:pt x="17" y="177"/>
                    </a:lnTo>
                    <a:lnTo>
                      <a:pt x="16" y="168"/>
                    </a:lnTo>
                    <a:lnTo>
                      <a:pt x="410" y="208"/>
                    </a:lnTo>
                    <a:lnTo>
                      <a:pt x="427" y="168"/>
                    </a:lnTo>
                    <a:lnTo>
                      <a:pt x="450" y="132"/>
                    </a:lnTo>
                    <a:lnTo>
                      <a:pt x="477" y="100"/>
                    </a:lnTo>
                    <a:lnTo>
                      <a:pt x="508" y="71"/>
                    </a:lnTo>
                    <a:lnTo>
                      <a:pt x="541" y="46"/>
                    </a:lnTo>
                    <a:lnTo>
                      <a:pt x="579" y="27"/>
                    </a:lnTo>
                    <a:lnTo>
                      <a:pt x="619" y="12"/>
                    </a:lnTo>
                    <a:lnTo>
                      <a:pt x="661" y="4"/>
                    </a:lnTo>
                    <a:lnTo>
                      <a:pt x="70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37" name="Freeform 76">
                <a:extLst>
                  <a:ext uri="{FF2B5EF4-FFF2-40B4-BE49-F238E27FC236}">
                    <a16:creationId xmlns:a16="http://schemas.microsoft.com/office/drawing/2014/main" id="{DFB09DB1-A365-400A-AB52-378FDA5ACA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3663" y="3276601"/>
                <a:ext cx="111125" cy="177800"/>
              </a:xfrm>
              <a:custGeom>
                <a:avLst/>
                <a:gdLst>
                  <a:gd name="T0" fmla="*/ 239 w 634"/>
                  <a:gd name="T1" fmla="*/ 0 h 1016"/>
                  <a:gd name="T2" fmla="*/ 327 w 634"/>
                  <a:gd name="T3" fmla="*/ 385 h 1016"/>
                  <a:gd name="T4" fmla="*/ 372 w 634"/>
                  <a:gd name="T5" fmla="*/ 389 h 1016"/>
                  <a:gd name="T6" fmla="*/ 416 w 634"/>
                  <a:gd name="T7" fmla="*/ 400 h 1016"/>
                  <a:gd name="T8" fmla="*/ 457 w 634"/>
                  <a:gd name="T9" fmla="*/ 417 h 1016"/>
                  <a:gd name="T10" fmla="*/ 495 w 634"/>
                  <a:gd name="T11" fmla="*/ 438 h 1016"/>
                  <a:gd name="T12" fmla="*/ 529 w 634"/>
                  <a:gd name="T13" fmla="*/ 465 h 1016"/>
                  <a:gd name="T14" fmla="*/ 559 w 634"/>
                  <a:gd name="T15" fmla="*/ 496 h 1016"/>
                  <a:gd name="T16" fmla="*/ 585 w 634"/>
                  <a:gd name="T17" fmla="*/ 531 h 1016"/>
                  <a:gd name="T18" fmla="*/ 605 w 634"/>
                  <a:gd name="T19" fmla="*/ 569 h 1016"/>
                  <a:gd name="T20" fmla="*/ 621 w 634"/>
                  <a:gd name="T21" fmla="*/ 610 h 1016"/>
                  <a:gd name="T22" fmla="*/ 631 w 634"/>
                  <a:gd name="T23" fmla="*/ 654 h 1016"/>
                  <a:gd name="T24" fmla="*/ 634 w 634"/>
                  <a:gd name="T25" fmla="*/ 701 h 1016"/>
                  <a:gd name="T26" fmla="*/ 631 w 634"/>
                  <a:gd name="T27" fmla="*/ 744 h 1016"/>
                  <a:gd name="T28" fmla="*/ 623 w 634"/>
                  <a:gd name="T29" fmla="*/ 784 h 1016"/>
                  <a:gd name="T30" fmla="*/ 610 w 634"/>
                  <a:gd name="T31" fmla="*/ 823 h 1016"/>
                  <a:gd name="T32" fmla="*/ 590 w 634"/>
                  <a:gd name="T33" fmla="*/ 860 h 1016"/>
                  <a:gd name="T34" fmla="*/ 568 w 634"/>
                  <a:gd name="T35" fmla="*/ 894 h 1016"/>
                  <a:gd name="T36" fmla="*/ 541 w 634"/>
                  <a:gd name="T37" fmla="*/ 924 h 1016"/>
                  <a:gd name="T38" fmla="*/ 511 w 634"/>
                  <a:gd name="T39" fmla="*/ 951 h 1016"/>
                  <a:gd name="T40" fmla="*/ 477 w 634"/>
                  <a:gd name="T41" fmla="*/ 973 h 1016"/>
                  <a:gd name="T42" fmla="*/ 441 w 634"/>
                  <a:gd name="T43" fmla="*/ 992 h 1016"/>
                  <a:gd name="T44" fmla="*/ 401 w 634"/>
                  <a:gd name="T45" fmla="*/ 1006 h 1016"/>
                  <a:gd name="T46" fmla="*/ 360 w 634"/>
                  <a:gd name="T47" fmla="*/ 1014 h 1016"/>
                  <a:gd name="T48" fmla="*/ 317 w 634"/>
                  <a:gd name="T49" fmla="*/ 1016 h 1016"/>
                  <a:gd name="T50" fmla="*/ 274 w 634"/>
                  <a:gd name="T51" fmla="*/ 1014 h 1016"/>
                  <a:gd name="T52" fmla="*/ 234 w 634"/>
                  <a:gd name="T53" fmla="*/ 1006 h 1016"/>
                  <a:gd name="T54" fmla="*/ 194 w 634"/>
                  <a:gd name="T55" fmla="*/ 992 h 1016"/>
                  <a:gd name="T56" fmla="*/ 157 w 634"/>
                  <a:gd name="T57" fmla="*/ 973 h 1016"/>
                  <a:gd name="T58" fmla="*/ 124 w 634"/>
                  <a:gd name="T59" fmla="*/ 951 h 1016"/>
                  <a:gd name="T60" fmla="*/ 94 w 634"/>
                  <a:gd name="T61" fmla="*/ 924 h 1016"/>
                  <a:gd name="T62" fmla="*/ 67 w 634"/>
                  <a:gd name="T63" fmla="*/ 894 h 1016"/>
                  <a:gd name="T64" fmla="*/ 44 w 634"/>
                  <a:gd name="T65" fmla="*/ 860 h 1016"/>
                  <a:gd name="T66" fmla="*/ 26 w 634"/>
                  <a:gd name="T67" fmla="*/ 823 h 1016"/>
                  <a:gd name="T68" fmla="*/ 12 w 634"/>
                  <a:gd name="T69" fmla="*/ 784 h 1016"/>
                  <a:gd name="T70" fmla="*/ 4 w 634"/>
                  <a:gd name="T71" fmla="*/ 744 h 1016"/>
                  <a:gd name="T72" fmla="*/ 0 w 634"/>
                  <a:gd name="T73" fmla="*/ 701 h 1016"/>
                  <a:gd name="T74" fmla="*/ 4 w 634"/>
                  <a:gd name="T75" fmla="*/ 655 h 1016"/>
                  <a:gd name="T76" fmla="*/ 13 w 634"/>
                  <a:gd name="T77" fmla="*/ 612 h 1016"/>
                  <a:gd name="T78" fmla="*/ 28 w 634"/>
                  <a:gd name="T79" fmla="*/ 573 h 1016"/>
                  <a:gd name="T80" fmla="*/ 49 w 634"/>
                  <a:gd name="T81" fmla="*/ 535 h 1016"/>
                  <a:gd name="T82" fmla="*/ 73 w 634"/>
                  <a:gd name="T83" fmla="*/ 501 h 1016"/>
                  <a:gd name="T84" fmla="*/ 102 w 634"/>
                  <a:gd name="T85" fmla="*/ 469 h 1016"/>
                  <a:gd name="T86" fmla="*/ 136 w 634"/>
                  <a:gd name="T87" fmla="*/ 443 h 1016"/>
                  <a:gd name="T88" fmla="*/ 172 w 634"/>
                  <a:gd name="T89" fmla="*/ 421 h 1016"/>
                  <a:gd name="T90" fmla="*/ 83 w 634"/>
                  <a:gd name="T91" fmla="*/ 35 h 1016"/>
                  <a:gd name="T92" fmla="*/ 137 w 634"/>
                  <a:gd name="T93" fmla="*/ 27 h 1016"/>
                  <a:gd name="T94" fmla="*/ 188 w 634"/>
                  <a:gd name="T95" fmla="*/ 15 h 1016"/>
                  <a:gd name="T96" fmla="*/ 239 w 634"/>
                  <a:gd name="T97" fmla="*/ 0 h 1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34" h="1016">
                    <a:moveTo>
                      <a:pt x="239" y="0"/>
                    </a:moveTo>
                    <a:lnTo>
                      <a:pt x="327" y="385"/>
                    </a:lnTo>
                    <a:lnTo>
                      <a:pt x="372" y="389"/>
                    </a:lnTo>
                    <a:lnTo>
                      <a:pt x="416" y="400"/>
                    </a:lnTo>
                    <a:lnTo>
                      <a:pt x="457" y="417"/>
                    </a:lnTo>
                    <a:lnTo>
                      <a:pt x="495" y="438"/>
                    </a:lnTo>
                    <a:lnTo>
                      <a:pt x="529" y="465"/>
                    </a:lnTo>
                    <a:lnTo>
                      <a:pt x="559" y="496"/>
                    </a:lnTo>
                    <a:lnTo>
                      <a:pt x="585" y="531"/>
                    </a:lnTo>
                    <a:lnTo>
                      <a:pt x="605" y="569"/>
                    </a:lnTo>
                    <a:lnTo>
                      <a:pt x="621" y="610"/>
                    </a:lnTo>
                    <a:lnTo>
                      <a:pt x="631" y="654"/>
                    </a:lnTo>
                    <a:lnTo>
                      <a:pt x="634" y="701"/>
                    </a:lnTo>
                    <a:lnTo>
                      <a:pt x="631" y="744"/>
                    </a:lnTo>
                    <a:lnTo>
                      <a:pt x="623" y="784"/>
                    </a:lnTo>
                    <a:lnTo>
                      <a:pt x="610" y="823"/>
                    </a:lnTo>
                    <a:lnTo>
                      <a:pt x="590" y="860"/>
                    </a:lnTo>
                    <a:lnTo>
                      <a:pt x="568" y="894"/>
                    </a:lnTo>
                    <a:lnTo>
                      <a:pt x="541" y="924"/>
                    </a:lnTo>
                    <a:lnTo>
                      <a:pt x="511" y="951"/>
                    </a:lnTo>
                    <a:lnTo>
                      <a:pt x="477" y="973"/>
                    </a:lnTo>
                    <a:lnTo>
                      <a:pt x="441" y="992"/>
                    </a:lnTo>
                    <a:lnTo>
                      <a:pt x="401" y="1006"/>
                    </a:lnTo>
                    <a:lnTo>
                      <a:pt x="360" y="1014"/>
                    </a:lnTo>
                    <a:lnTo>
                      <a:pt x="317" y="1016"/>
                    </a:lnTo>
                    <a:lnTo>
                      <a:pt x="274" y="1014"/>
                    </a:lnTo>
                    <a:lnTo>
                      <a:pt x="234" y="1006"/>
                    </a:lnTo>
                    <a:lnTo>
                      <a:pt x="194" y="992"/>
                    </a:lnTo>
                    <a:lnTo>
                      <a:pt x="157" y="973"/>
                    </a:lnTo>
                    <a:lnTo>
                      <a:pt x="124" y="951"/>
                    </a:lnTo>
                    <a:lnTo>
                      <a:pt x="94" y="924"/>
                    </a:lnTo>
                    <a:lnTo>
                      <a:pt x="67" y="894"/>
                    </a:lnTo>
                    <a:lnTo>
                      <a:pt x="44" y="860"/>
                    </a:lnTo>
                    <a:lnTo>
                      <a:pt x="26" y="823"/>
                    </a:lnTo>
                    <a:lnTo>
                      <a:pt x="12" y="784"/>
                    </a:lnTo>
                    <a:lnTo>
                      <a:pt x="4" y="744"/>
                    </a:lnTo>
                    <a:lnTo>
                      <a:pt x="0" y="701"/>
                    </a:lnTo>
                    <a:lnTo>
                      <a:pt x="4" y="655"/>
                    </a:lnTo>
                    <a:lnTo>
                      <a:pt x="13" y="612"/>
                    </a:lnTo>
                    <a:lnTo>
                      <a:pt x="28" y="573"/>
                    </a:lnTo>
                    <a:lnTo>
                      <a:pt x="49" y="535"/>
                    </a:lnTo>
                    <a:lnTo>
                      <a:pt x="73" y="501"/>
                    </a:lnTo>
                    <a:lnTo>
                      <a:pt x="102" y="469"/>
                    </a:lnTo>
                    <a:lnTo>
                      <a:pt x="136" y="443"/>
                    </a:lnTo>
                    <a:lnTo>
                      <a:pt x="172" y="421"/>
                    </a:lnTo>
                    <a:lnTo>
                      <a:pt x="83" y="35"/>
                    </a:lnTo>
                    <a:lnTo>
                      <a:pt x="137" y="27"/>
                    </a:lnTo>
                    <a:lnTo>
                      <a:pt x="188" y="15"/>
                    </a:lnTo>
                    <a:lnTo>
                      <a:pt x="23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38" name="Freeform 77">
                <a:extLst>
                  <a:ext uri="{FF2B5EF4-FFF2-40B4-BE49-F238E27FC236}">
                    <a16:creationId xmlns:a16="http://schemas.microsoft.com/office/drawing/2014/main" id="{ACD42698-907F-45F4-B556-D2901A9173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338" y="3182938"/>
                <a:ext cx="198438" cy="114300"/>
              </a:xfrm>
              <a:custGeom>
                <a:avLst/>
                <a:gdLst>
                  <a:gd name="T0" fmla="*/ 1071 w 1123"/>
                  <a:gd name="T1" fmla="*/ 0 h 653"/>
                  <a:gd name="T2" fmla="*/ 1085 w 1123"/>
                  <a:gd name="T3" fmla="*/ 52 h 653"/>
                  <a:gd name="T4" fmla="*/ 1102 w 1123"/>
                  <a:gd name="T5" fmla="*/ 102 h 653"/>
                  <a:gd name="T6" fmla="*/ 1123 w 1123"/>
                  <a:gd name="T7" fmla="*/ 151 h 653"/>
                  <a:gd name="T8" fmla="*/ 631 w 1123"/>
                  <a:gd name="T9" fmla="*/ 316 h 653"/>
                  <a:gd name="T10" fmla="*/ 632 w 1123"/>
                  <a:gd name="T11" fmla="*/ 326 h 653"/>
                  <a:gd name="T12" fmla="*/ 633 w 1123"/>
                  <a:gd name="T13" fmla="*/ 337 h 653"/>
                  <a:gd name="T14" fmla="*/ 631 w 1123"/>
                  <a:gd name="T15" fmla="*/ 379 h 653"/>
                  <a:gd name="T16" fmla="*/ 622 w 1123"/>
                  <a:gd name="T17" fmla="*/ 421 h 653"/>
                  <a:gd name="T18" fmla="*/ 608 w 1123"/>
                  <a:gd name="T19" fmla="*/ 460 h 653"/>
                  <a:gd name="T20" fmla="*/ 590 w 1123"/>
                  <a:gd name="T21" fmla="*/ 497 h 653"/>
                  <a:gd name="T22" fmla="*/ 567 w 1123"/>
                  <a:gd name="T23" fmla="*/ 530 h 653"/>
                  <a:gd name="T24" fmla="*/ 540 w 1123"/>
                  <a:gd name="T25" fmla="*/ 561 h 653"/>
                  <a:gd name="T26" fmla="*/ 510 w 1123"/>
                  <a:gd name="T27" fmla="*/ 588 h 653"/>
                  <a:gd name="T28" fmla="*/ 476 w 1123"/>
                  <a:gd name="T29" fmla="*/ 611 h 653"/>
                  <a:gd name="T30" fmla="*/ 439 w 1123"/>
                  <a:gd name="T31" fmla="*/ 629 h 653"/>
                  <a:gd name="T32" fmla="*/ 401 w 1123"/>
                  <a:gd name="T33" fmla="*/ 643 h 653"/>
                  <a:gd name="T34" fmla="*/ 359 w 1123"/>
                  <a:gd name="T35" fmla="*/ 650 h 653"/>
                  <a:gd name="T36" fmla="*/ 316 w 1123"/>
                  <a:gd name="T37" fmla="*/ 653 h 653"/>
                  <a:gd name="T38" fmla="*/ 273 w 1123"/>
                  <a:gd name="T39" fmla="*/ 650 h 653"/>
                  <a:gd name="T40" fmla="*/ 232 w 1123"/>
                  <a:gd name="T41" fmla="*/ 643 h 653"/>
                  <a:gd name="T42" fmla="*/ 193 w 1123"/>
                  <a:gd name="T43" fmla="*/ 629 h 653"/>
                  <a:gd name="T44" fmla="*/ 157 w 1123"/>
                  <a:gd name="T45" fmla="*/ 611 h 653"/>
                  <a:gd name="T46" fmla="*/ 122 w 1123"/>
                  <a:gd name="T47" fmla="*/ 588 h 653"/>
                  <a:gd name="T48" fmla="*/ 92 w 1123"/>
                  <a:gd name="T49" fmla="*/ 561 h 653"/>
                  <a:gd name="T50" fmla="*/ 66 w 1123"/>
                  <a:gd name="T51" fmla="*/ 530 h 653"/>
                  <a:gd name="T52" fmla="*/ 43 w 1123"/>
                  <a:gd name="T53" fmla="*/ 497 h 653"/>
                  <a:gd name="T54" fmla="*/ 25 w 1123"/>
                  <a:gd name="T55" fmla="*/ 460 h 653"/>
                  <a:gd name="T56" fmla="*/ 12 w 1123"/>
                  <a:gd name="T57" fmla="*/ 421 h 653"/>
                  <a:gd name="T58" fmla="*/ 3 w 1123"/>
                  <a:gd name="T59" fmla="*/ 379 h 653"/>
                  <a:gd name="T60" fmla="*/ 0 w 1123"/>
                  <a:gd name="T61" fmla="*/ 337 h 653"/>
                  <a:gd name="T62" fmla="*/ 3 w 1123"/>
                  <a:gd name="T63" fmla="*/ 294 h 653"/>
                  <a:gd name="T64" fmla="*/ 12 w 1123"/>
                  <a:gd name="T65" fmla="*/ 253 h 653"/>
                  <a:gd name="T66" fmla="*/ 25 w 1123"/>
                  <a:gd name="T67" fmla="*/ 214 h 653"/>
                  <a:gd name="T68" fmla="*/ 43 w 1123"/>
                  <a:gd name="T69" fmla="*/ 177 h 653"/>
                  <a:gd name="T70" fmla="*/ 66 w 1123"/>
                  <a:gd name="T71" fmla="*/ 143 h 653"/>
                  <a:gd name="T72" fmla="*/ 92 w 1123"/>
                  <a:gd name="T73" fmla="*/ 113 h 653"/>
                  <a:gd name="T74" fmla="*/ 122 w 1123"/>
                  <a:gd name="T75" fmla="*/ 86 h 653"/>
                  <a:gd name="T76" fmla="*/ 157 w 1123"/>
                  <a:gd name="T77" fmla="*/ 64 h 653"/>
                  <a:gd name="T78" fmla="*/ 193 w 1123"/>
                  <a:gd name="T79" fmla="*/ 45 h 653"/>
                  <a:gd name="T80" fmla="*/ 232 w 1123"/>
                  <a:gd name="T81" fmla="*/ 31 h 653"/>
                  <a:gd name="T82" fmla="*/ 273 w 1123"/>
                  <a:gd name="T83" fmla="*/ 24 h 653"/>
                  <a:gd name="T84" fmla="*/ 316 w 1123"/>
                  <a:gd name="T85" fmla="*/ 21 h 653"/>
                  <a:gd name="T86" fmla="*/ 358 w 1123"/>
                  <a:gd name="T87" fmla="*/ 23 h 653"/>
                  <a:gd name="T88" fmla="*/ 397 w 1123"/>
                  <a:gd name="T89" fmla="*/ 31 h 653"/>
                  <a:gd name="T90" fmla="*/ 434 w 1123"/>
                  <a:gd name="T91" fmla="*/ 43 h 653"/>
                  <a:gd name="T92" fmla="*/ 470 w 1123"/>
                  <a:gd name="T93" fmla="*/ 60 h 653"/>
                  <a:gd name="T94" fmla="*/ 502 w 1123"/>
                  <a:gd name="T95" fmla="*/ 81 h 653"/>
                  <a:gd name="T96" fmla="*/ 532 w 1123"/>
                  <a:gd name="T97" fmla="*/ 105 h 653"/>
                  <a:gd name="T98" fmla="*/ 559 w 1123"/>
                  <a:gd name="T99" fmla="*/ 133 h 653"/>
                  <a:gd name="T100" fmla="*/ 581 w 1123"/>
                  <a:gd name="T101" fmla="*/ 165 h 653"/>
                  <a:gd name="T102" fmla="*/ 1071 w 1123"/>
                  <a:gd name="T103" fmla="*/ 0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23" h="653">
                    <a:moveTo>
                      <a:pt x="1071" y="0"/>
                    </a:moveTo>
                    <a:lnTo>
                      <a:pt x="1085" y="52"/>
                    </a:lnTo>
                    <a:lnTo>
                      <a:pt x="1102" y="102"/>
                    </a:lnTo>
                    <a:lnTo>
                      <a:pt x="1123" y="151"/>
                    </a:lnTo>
                    <a:lnTo>
                      <a:pt x="631" y="316"/>
                    </a:lnTo>
                    <a:lnTo>
                      <a:pt x="632" y="326"/>
                    </a:lnTo>
                    <a:lnTo>
                      <a:pt x="633" y="337"/>
                    </a:lnTo>
                    <a:lnTo>
                      <a:pt x="631" y="379"/>
                    </a:lnTo>
                    <a:lnTo>
                      <a:pt x="622" y="421"/>
                    </a:lnTo>
                    <a:lnTo>
                      <a:pt x="608" y="460"/>
                    </a:lnTo>
                    <a:lnTo>
                      <a:pt x="590" y="497"/>
                    </a:lnTo>
                    <a:lnTo>
                      <a:pt x="567" y="530"/>
                    </a:lnTo>
                    <a:lnTo>
                      <a:pt x="540" y="561"/>
                    </a:lnTo>
                    <a:lnTo>
                      <a:pt x="510" y="588"/>
                    </a:lnTo>
                    <a:lnTo>
                      <a:pt x="476" y="611"/>
                    </a:lnTo>
                    <a:lnTo>
                      <a:pt x="439" y="629"/>
                    </a:lnTo>
                    <a:lnTo>
                      <a:pt x="401" y="643"/>
                    </a:lnTo>
                    <a:lnTo>
                      <a:pt x="359" y="650"/>
                    </a:lnTo>
                    <a:lnTo>
                      <a:pt x="316" y="653"/>
                    </a:lnTo>
                    <a:lnTo>
                      <a:pt x="273" y="650"/>
                    </a:lnTo>
                    <a:lnTo>
                      <a:pt x="232" y="643"/>
                    </a:lnTo>
                    <a:lnTo>
                      <a:pt x="193" y="629"/>
                    </a:lnTo>
                    <a:lnTo>
                      <a:pt x="157" y="611"/>
                    </a:lnTo>
                    <a:lnTo>
                      <a:pt x="122" y="588"/>
                    </a:lnTo>
                    <a:lnTo>
                      <a:pt x="92" y="561"/>
                    </a:lnTo>
                    <a:lnTo>
                      <a:pt x="66" y="530"/>
                    </a:lnTo>
                    <a:lnTo>
                      <a:pt x="43" y="497"/>
                    </a:lnTo>
                    <a:lnTo>
                      <a:pt x="25" y="460"/>
                    </a:lnTo>
                    <a:lnTo>
                      <a:pt x="12" y="421"/>
                    </a:lnTo>
                    <a:lnTo>
                      <a:pt x="3" y="379"/>
                    </a:lnTo>
                    <a:lnTo>
                      <a:pt x="0" y="337"/>
                    </a:lnTo>
                    <a:lnTo>
                      <a:pt x="3" y="294"/>
                    </a:lnTo>
                    <a:lnTo>
                      <a:pt x="12" y="253"/>
                    </a:lnTo>
                    <a:lnTo>
                      <a:pt x="25" y="214"/>
                    </a:lnTo>
                    <a:lnTo>
                      <a:pt x="43" y="177"/>
                    </a:lnTo>
                    <a:lnTo>
                      <a:pt x="66" y="143"/>
                    </a:lnTo>
                    <a:lnTo>
                      <a:pt x="92" y="113"/>
                    </a:lnTo>
                    <a:lnTo>
                      <a:pt x="122" y="86"/>
                    </a:lnTo>
                    <a:lnTo>
                      <a:pt x="157" y="64"/>
                    </a:lnTo>
                    <a:lnTo>
                      <a:pt x="193" y="45"/>
                    </a:lnTo>
                    <a:lnTo>
                      <a:pt x="232" y="31"/>
                    </a:lnTo>
                    <a:lnTo>
                      <a:pt x="273" y="24"/>
                    </a:lnTo>
                    <a:lnTo>
                      <a:pt x="316" y="21"/>
                    </a:lnTo>
                    <a:lnTo>
                      <a:pt x="358" y="23"/>
                    </a:lnTo>
                    <a:lnTo>
                      <a:pt x="397" y="31"/>
                    </a:lnTo>
                    <a:lnTo>
                      <a:pt x="434" y="43"/>
                    </a:lnTo>
                    <a:lnTo>
                      <a:pt x="470" y="60"/>
                    </a:lnTo>
                    <a:lnTo>
                      <a:pt x="502" y="81"/>
                    </a:lnTo>
                    <a:lnTo>
                      <a:pt x="532" y="105"/>
                    </a:lnTo>
                    <a:lnTo>
                      <a:pt x="559" y="133"/>
                    </a:lnTo>
                    <a:lnTo>
                      <a:pt x="581" y="165"/>
                    </a:lnTo>
                    <a:lnTo>
                      <a:pt x="10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39" name="Freeform 78">
                <a:extLst>
                  <a:ext uri="{FF2B5EF4-FFF2-40B4-BE49-F238E27FC236}">
                    <a16:creationId xmlns:a16="http://schemas.microsoft.com/office/drawing/2014/main" id="{DD343D9C-878E-4371-993F-D78E595010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6826" y="3059113"/>
                <a:ext cx="192088" cy="192088"/>
              </a:xfrm>
              <a:custGeom>
                <a:avLst/>
                <a:gdLst>
                  <a:gd name="T0" fmla="*/ 542 w 1086"/>
                  <a:gd name="T1" fmla="*/ 0 h 1086"/>
                  <a:gd name="T2" fmla="*/ 601 w 1086"/>
                  <a:gd name="T3" fmla="*/ 3 h 1086"/>
                  <a:gd name="T4" fmla="*/ 659 w 1086"/>
                  <a:gd name="T5" fmla="*/ 13 h 1086"/>
                  <a:gd name="T6" fmla="*/ 714 w 1086"/>
                  <a:gd name="T7" fmla="*/ 28 h 1086"/>
                  <a:gd name="T8" fmla="*/ 767 w 1086"/>
                  <a:gd name="T9" fmla="*/ 48 h 1086"/>
                  <a:gd name="T10" fmla="*/ 816 w 1086"/>
                  <a:gd name="T11" fmla="*/ 74 h 1086"/>
                  <a:gd name="T12" fmla="*/ 864 w 1086"/>
                  <a:gd name="T13" fmla="*/ 105 h 1086"/>
                  <a:gd name="T14" fmla="*/ 907 w 1086"/>
                  <a:gd name="T15" fmla="*/ 141 h 1086"/>
                  <a:gd name="T16" fmla="*/ 945 w 1086"/>
                  <a:gd name="T17" fmla="*/ 179 h 1086"/>
                  <a:gd name="T18" fmla="*/ 981 w 1086"/>
                  <a:gd name="T19" fmla="*/ 222 h 1086"/>
                  <a:gd name="T20" fmla="*/ 1012 w 1086"/>
                  <a:gd name="T21" fmla="*/ 270 h 1086"/>
                  <a:gd name="T22" fmla="*/ 1038 w 1086"/>
                  <a:gd name="T23" fmla="*/ 319 h 1086"/>
                  <a:gd name="T24" fmla="*/ 1058 w 1086"/>
                  <a:gd name="T25" fmla="*/ 372 h 1086"/>
                  <a:gd name="T26" fmla="*/ 1073 w 1086"/>
                  <a:gd name="T27" fmla="*/ 426 h 1086"/>
                  <a:gd name="T28" fmla="*/ 1083 w 1086"/>
                  <a:gd name="T29" fmla="*/ 483 h 1086"/>
                  <a:gd name="T30" fmla="*/ 1086 w 1086"/>
                  <a:gd name="T31" fmla="*/ 543 h 1086"/>
                  <a:gd name="T32" fmla="*/ 1083 w 1086"/>
                  <a:gd name="T33" fmla="*/ 602 h 1086"/>
                  <a:gd name="T34" fmla="*/ 1073 w 1086"/>
                  <a:gd name="T35" fmla="*/ 660 h 1086"/>
                  <a:gd name="T36" fmla="*/ 1058 w 1086"/>
                  <a:gd name="T37" fmla="*/ 714 h 1086"/>
                  <a:gd name="T38" fmla="*/ 1038 w 1086"/>
                  <a:gd name="T39" fmla="*/ 767 h 1086"/>
                  <a:gd name="T40" fmla="*/ 1012 w 1086"/>
                  <a:gd name="T41" fmla="*/ 817 h 1086"/>
                  <a:gd name="T42" fmla="*/ 981 w 1086"/>
                  <a:gd name="T43" fmla="*/ 864 h 1086"/>
                  <a:gd name="T44" fmla="*/ 945 w 1086"/>
                  <a:gd name="T45" fmla="*/ 907 h 1086"/>
                  <a:gd name="T46" fmla="*/ 907 w 1086"/>
                  <a:gd name="T47" fmla="*/ 947 h 1086"/>
                  <a:gd name="T48" fmla="*/ 864 w 1086"/>
                  <a:gd name="T49" fmla="*/ 981 h 1086"/>
                  <a:gd name="T50" fmla="*/ 816 w 1086"/>
                  <a:gd name="T51" fmla="*/ 1012 h 1086"/>
                  <a:gd name="T52" fmla="*/ 767 w 1086"/>
                  <a:gd name="T53" fmla="*/ 1038 h 1086"/>
                  <a:gd name="T54" fmla="*/ 714 w 1086"/>
                  <a:gd name="T55" fmla="*/ 1058 h 1086"/>
                  <a:gd name="T56" fmla="*/ 659 w 1086"/>
                  <a:gd name="T57" fmla="*/ 1073 h 1086"/>
                  <a:gd name="T58" fmla="*/ 601 w 1086"/>
                  <a:gd name="T59" fmla="*/ 1083 h 1086"/>
                  <a:gd name="T60" fmla="*/ 542 w 1086"/>
                  <a:gd name="T61" fmla="*/ 1086 h 1086"/>
                  <a:gd name="T62" fmla="*/ 483 w 1086"/>
                  <a:gd name="T63" fmla="*/ 1083 h 1086"/>
                  <a:gd name="T64" fmla="*/ 426 w 1086"/>
                  <a:gd name="T65" fmla="*/ 1073 h 1086"/>
                  <a:gd name="T66" fmla="*/ 372 w 1086"/>
                  <a:gd name="T67" fmla="*/ 1058 h 1086"/>
                  <a:gd name="T68" fmla="*/ 319 w 1086"/>
                  <a:gd name="T69" fmla="*/ 1038 h 1086"/>
                  <a:gd name="T70" fmla="*/ 269 w 1086"/>
                  <a:gd name="T71" fmla="*/ 1012 h 1086"/>
                  <a:gd name="T72" fmla="*/ 222 w 1086"/>
                  <a:gd name="T73" fmla="*/ 981 h 1086"/>
                  <a:gd name="T74" fmla="*/ 179 w 1086"/>
                  <a:gd name="T75" fmla="*/ 947 h 1086"/>
                  <a:gd name="T76" fmla="*/ 139 w 1086"/>
                  <a:gd name="T77" fmla="*/ 907 h 1086"/>
                  <a:gd name="T78" fmla="*/ 105 w 1086"/>
                  <a:gd name="T79" fmla="*/ 864 h 1086"/>
                  <a:gd name="T80" fmla="*/ 74 w 1086"/>
                  <a:gd name="T81" fmla="*/ 817 h 1086"/>
                  <a:gd name="T82" fmla="*/ 48 w 1086"/>
                  <a:gd name="T83" fmla="*/ 767 h 1086"/>
                  <a:gd name="T84" fmla="*/ 28 w 1086"/>
                  <a:gd name="T85" fmla="*/ 714 h 1086"/>
                  <a:gd name="T86" fmla="*/ 13 w 1086"/>
                  <a:gd name="T87" fmla="*/ 660 h 1086"/>
                  <a:gd name="T88" fmla="*/ 3 w 1086"/>
                  <a:gd name="T89" fmla="*/ 602 h 1086"/>
                  <a:gd name="T90" fmla="*/ 0 w 1086"/>
                  <a:gd name="T91" fmla="*/ 543 h 1086"/>
                  <a:gd name="T92" fmla="*/ 3 w 1086"/>
                  <a:gd name="T93" fmla="*/ 483 h 1086"/>
                  <a:gd name="T94" fmla="*/ 13 w 1086"/>
                  <a:gd name="T95" fmla="*/ 426 h 1086"/>
                  <a:gd name="T96" fmla="*/ 28 w 1086"/>
                  <a:gd name="T97" fmla="*/ 372 h 1086"/>
                  <a:gd name="T98" fmla="*/ 48 w 1086"/>
                  <a:gd name="T99" fmla="*/ 319 h 1086"/>
                  <a:gd name="T100" fmla="*/ 74 w 1086"/>
                  <a:gd name="T101" fmla="*/ 270 h 1086"/>
                  <a:gd name="T102" fmla="*/ 105 w 1086"/>
                  <a:gd name="T103" fmla="*/ 222 h 1086"/>
                  <a:gd name="T104" fmla="*/ 139 w 1086"/>
                  <a:gd name="T105" fmla="*/ 179 h 1086"/>
                  <a:gd name="T106" fmla="*/ 179 w 1086"/>
                  <a:gd name="T107" fmla="*/ 141 h 1086"/>
                  <a:gd name="T108" fmla="*/ 222 w 1086"/>
                  <a:gd name="T109" fmla="*/ 105 h 1086"/>
                  <a:gd name="T110" fmla="*/ 269 w 1086"/>
                  <a:gd name="T111" fmla="*/ 74 h 1086"/>
                  <a:gd name="T112" fmla="*/ 319 w 1086"/>
                  <a:gd name="T113" fmla="*/ 48 h 1086"/>
                  <a:gd name="T114" fmla="*/ 372 w 1086"/>
                  <a:gd name="T115" fmla="*/ 28 h 1086"/>
                  <a:gd name="T116" fmla="*/ 426 w 1086"/>
                  <a:gd name="T117" fmla="*/ 13 h 1086"/>
                  <a:gd name="T118" fmla="*/ 483 w 1086"/>
                  <a:gd name="T119" fmla="*/ 3 h 1086"/>
                  <a:gd name="T120" fmla="*/ 542 w 1086"/>
                  <a:gd name="T121" fmla="*/ 0 h 10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86" h="1086">
                    <a:moveTo>
                      <a:pt x="542" y="0"/>
                    </a:moveTo>
                    <a:lnTo>
                      <a:pt x="601" y="3"/>
                    </a:lnTo>
                    <a:lnTo>
                      <a:pt x="659" y="13"/>
                    </a:lnTo>
                    <a:lnTo>
                      <a:pt x="714" y="28"/>
                    </a:lnTo>
                    <a:lnTo>
                      <a:pt x="767" y="48"/>
                    </a:lnTo>
                    <a:lnTo>
                      <a:pt x="816" y="74"/>
                    </a:lnTo>
                    <a:lnTo>
                      <a:pt x="864" y="105"/>
                    </a:lnTo>
                    <a:lnTo>
                      <a:pt x="907" y="141"/>
                    </a:lnTo>
                    <a:lnTo>
                      <a:pt x="945" y="179"/>
                    </a:lnTo>
                    <a:lnTo>
                      <a:pt x="981" y="222"/>
                    </a:lnTo>
                    <a:lnTo>
                      <a:pt x="1012" y="270"/>
                    </a:lnTo>
                    <a:lnTo>
                      <a:pt x="1038" y="319"/>
                    </a:lnTo>
                    <a:lnTo>
                      <a:pt x="1058" y="372"/>
                    </a:lnTo>
                    <a:lnTo>
                      <a:pt x="1073" y="426"/>
                    </a:lnTo>
                    <a:lnTo>
                      <a:pt x="1083" y="483"/>
                    </a:lnTo>
                    <a:lnTo>
                      <a:pt x="1086" y="543"/>
                    </a:lnTo>
                    <a:lnTo>
                      <a:pt x="1083" y="602"/>
                    </a:lnTo>
                    <a:lnTo>
                      <a:pt x="1073" y="660"/>
                    </a:lnTo>
                    <a:lnTo>
                      <a:pt x="1058" y="714"/>
                    </a:lnTo>
                    <a:lnTo>
                      <a:pt x="1038" y="767"/>
                    </a:lnTo>
                    <a:lnTo>
                      <a:pt x="1012" y="817"/>
                    </a:lnTo>
                    <a:lnTo>
                      <a:pt x="981" y="864"/>
                    </a:lnTo>
                    <a:lnTo>
                      <a:pt x="945" y="907"/>
                    </a:lnTo>
                    <a:lnTo>
                      <a:pt x="907" y="947"/>
                    </a:lnTo>
                    <a:lnTo>
                      <a:pt x="864" y="981"/>
                    </a:lnTo>
                    <a:lnTo>
                      <a:pt x="816" y="1012"/>
                    </a:lnTo>
                    <a:lnTo>
                      <a:pt x="767" y="1038"/>
                    </a:lnTo>
                    <a:lnTo>
                      <a:pt x="714" y="1058"/>
                    </a:lnTo>
                    <a:lnTo>
                      <a:pt x="659" y="1073"/>
                    </a:lnTo>
                    <a:lnTo>
                      <a:pt x="601" y="1083"/>
                    </a:lnTo>
                    <a:lnTo>
                      <a:pt x="542" y="1086"/>
                    </a:lnTo>
                    <a:lnTo>
                      <a:pt x="483" y="1083"/>
                    </a:lnTo>
                    <a:lnTo>
                      <a:pt x="426" y="1073"/>
                    </a:lnTo>
                    <a:lnTo>
                      <a:pt x="372" y="1058"/>
                    </a:lnTo>
                    <a:lnTo>
                      <a:pt x="319" y="1038"/>
                    </a:lnTo>
                    <a:lnTo>
                      <a:pt x="269" y="1012"/>
                    </a:lnTo>
                    <a:lnTo>
                      <a:pt x="222" y="981"/>
                    </a:lnTo>
                    <a:lnTo>
                      <a:pt x="179" y="947"/>
                    </a:lnTo>
                    <a:lnTo>
                      <a:pt x="139" y="907"/>
                    </a:lnTo>
                    <a:lnTo>
                      <a:pt x="105" y="864"/>
                    </a:lnTo>
                    <a:lnTo>
                      <a:pt x="74" y="817"/>
                    </a:lnTo>
                    <a:lnTo>
                      <a:pt x="48" y="767"/>
                    </a:lnTo>
                    <a:lnTo>
                      <a:pt x="28" y="714"/>
                    </a:lnTo>
                    <a:lnTo>
                      <a:pt x="13" y="660"/>
                    </a:lnTo>
                    <a:lnTo>
                      <a:pt x="3" y="602"/>
                    </a:lnTo>
                    <a:lnTo>
                      <a:pt x="0" y="543"/>
                    </a:lnTo>
                    <a:lnTo>
                      <a:pt x="3" y="483"/>
                    </a:lnTo>
                    <a:lnTo>
                      <a:pt x="13" y="426"/>
                    </a:lnTo>
                    <a:lnTo>
                      <a:pt x="28" y="372"/>
                    </a:lnTo>
                    <a:lnTo>
                      <a:pt x="48" y="319"/>
                    </a:lnTo>
                    <a:lnTo>
                      <a:pt x="74" y="270"/>
                    </a:lnTo>
                    <a:lnTo>
                      <a:pt x="105" y="222"/>
                    </a:lnTo>
                    <a:lnTo>
                      <a:pt x="139" y="179"/>
                    </a:lnTo>
                    <a:lnTo>
                      <a:pt x="179" y="141"/>
                    </a:lnTo>
                    <a:lnTo>
                      <a:pt x="222" y="105"/>
                    </a:lnTo>
                    <a:lnTo>
                      <a:pt x="269" y="74"/>
                    </a:lnTo>
                    <a:lnTo>
                      <a:pt x="319" y="48"/>
                    </a:lnTo>
                    <a:lnTo>
                      <a:pt x="372" y="28"/>
                    </a:lnTo>
                    <a:lnTo>
                      <a:pt x="426" y="13"/>
                    </a:lnTo>
                    <a:lnTo>
                      <a:pt x="483" y="3"/>
                    </a:lnTo>
                    <a:lnTo>
                      <a:pt x="54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DE2B6931-D625-4F12-A150-8F3A58F6C602}"/>
                </a:ext>
              </a:extLst>
            </p:cNvPr>
            <p:cNvGrpSpPr/>
            <p:nvPr/>
          </p:nvGrpSpPr>
          <p:grpSpPr>
            <a:xfrm>
              <a:off x="851823" y="1780116"/>
              <a:ext cx="351054" cy="384978"/>
              <a:chOff x="3824288" y="2613025"/>
              <a:chExt cx="1960563" cy="2222500"/>
            </a:xfrm>
            <a:solidFill>
              <a:srgbClr val="FFBA1F"/>
            </a:solidFill>
          </p:grpSpPr>
          <p:sp>
            <p:nvSpPr>
              <p:cNvPr id="132" name="Freeform 15">
                <a:extLst>
                  <a:ext uri="{FF2B5EF4-FFF2-40B4-BE49-F238E27FC236}">
                    <a16:creationId xmlns:a16="http://schemas.microsoft.com/office/drawing/2014/main" id="{2F521DD1-DB17-46F2-81EF-285FFDA035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4288" y="2613025"/>
                <a:ext cx="1960563" cy="2222500"/>
              </a:xfrm>
              <a:custGeom>
                <a:avLst/>
                <a:gdLst>
                  <a:gd name="T0" fmla="*/ 200 w 1235"/>
                  <a:gd name="T1" fmla="*/ 599 h 1400"/>
                  <a:gd name="T2" fmla="*/ 215 w 1235"/>
                  <a:gd name="T3" fmla="*/ 1152 h 1400"/>
                  <a:gd name="T4" fmla="*/ 896 w 1235"/>
                  <a:gd name="T5" fmla="*/ 1062 h 1400"/>
                  <a:gd name="T6" fmla="*/ 1047 w 1235"/>
                  <a:gd name="T7" fmla="*/ 915 h 1400"/>
                  <a:gd name="T8" fmla="*/ 1140 w 1235"/>
                  <a:gd name="T9" fmla="*/ 669 h 1400"/>
                  <a:gd name="T10" fmla="*/ 200 w 1235"/>
                  <a:gd name="T11" fmla="*/ 452 h 1400"/>
                  <a:gd name="T12" fmla="*/ 774 w 1235"/>
                  <a:gd name="T13" fmla="*/ 317 h 1400"/>
                  <a:gd name="T14" fmla="*/ 591 w 1235"/>
                  <a:gd name="T15" fmla="*/ 329 h 1400"/>
                  <a:gd name="T16" fmla="*/ 679 w 1235"/>
                  <a:gd name="T17" fmla="*/ 406 h 1400"/>
                  <a:gd name="T18" fmla="*/ 529 w 1235"/>
                  <a:gd name="T19" fmla="*/ 242 h 1400"/>
                  <a:gd name="T20" fmla="*/ 442 w 1235"/>
                  <a:gd name="T21" fmla="*/ 373 h 1400"/>
                  <a:gd name="T22" fmla="*/ 537 w 1235"/>
                  <a:gd name="T23" fmla="*/ 334 h 1400"/>
                  <a:gd name="T24" fmla="*/ 619 w 1235"/>
                  <a:gd name="T25" fmla="*/ 273 h 1400"/>
                  <a:gd name="T26" fmla="*/ 316 w 1235"/>
                  <a:gd name="T27" fmla="*/ 186 h 1400"/>
                  <a:gd name="T28" fmla="*/ 308 w 1235"/>
                  <a:gd name="T29" fmla="*/ 211 h 1400"/>
                  <a:gd name="T30" fmla="*/ 330 w 1235"/>
                  <a:gd name="T31" fmla="*/ 226 h 1400"/>
                  <a:gd name="T32" fmla="*/ 351 w 1235"/>
                  <a:gd name="T33" fmla="*/ 211 h 1400"/>
                  <a:gd name="T34" fmla="*/ 343 w 1235"/>
                  <a:gd name="T35" fmla="*/ 186 h 1400"/>
                  <a:gd name="T36" fmla="*/ 1020 w 1235"/>
                  <a:gd name="T37" fmla="*/ 406 h 1400"/>
                  <a:gd name="T38" fmla="*/ 1191 w 1235"/>
                  <a:gd name="T39" fmla="*/ 91 h 1400"/>
                  <a:gd name="T40" fmla="*/ 617 w 1235"/>
                  <a:gd name="T41" fmla="*/ 75 h 1400"/>
                  <a:gd name="T42" fmla="*/ 752 w 1235"/>
                  <a:gd name="T43" fmla="*/ 271 h 1400"/>
                  <a:gd name="T44" fmla="*/ 896 w 1235"/>
                  <a:gd name="T45" fmla="*/ 44 h 1400"/>
                  <a:gd name="T46" fmla="*/ 896 w 1235"/>
                  <a:gd name="T47" fmla="*/ 44 h 1400"/>
                  <a:gd name="T48" fmla="*/ 217 w 1235"/>
                  <a:gd name="T49" fmla="*/ 91 h 1400"/>
                  <a:gd name="T50" fmla="*/ 175 w 1235"/>
                  <a:gd name="T51" fmla="*/ 236 h 1400"/>
                  <a:gd name="T52" fmla="*/ 250 w 1235"/>
                  <a:gd name="T53" fmla="*/ 340 h 1400"/>
                  <a:gd name="T54" fmla="*/ 306 w 1235"/>
                  <a:gd name="T55" fmla="*/ 267 h 1400"/>
                  <a:gd name="T56" fmla="*/ 262 w 1235"/>
                  <a:gd name="T57" fmla="*/ 203 h 1400"/>
                  <a:gd name="T58" fmla="*/ 330 w 1235"/>
                  <a:gd name="T59" fmla="*/ 135 h 1400"/>
                  <a:gd name="T60" fmla="*/ 398 w 1235"/>
                  <a:gd name="T61" fmla="*/ 203 h 1400"/>
                  <a:gd name="T62" fmla="*/ 351 w 1235"/>
                  <a:gd name="T63" fmla="*/ 267 h 1400"/>
                  <a:gd name="T64" fmla="*/ 409 w 1235"/>
                  <a:gd name="T65" fmla="*/ 340 h 1400"/>
                  <a:gd name="T66" fmla="*/ 485 w 1235"/>
                  <a:gd name="T67" fmla="*/ 236 h 1400"/>
                  <a:gd name="T68" fmla="*/ 442 w 1235"/>
                  <a:gd name="T69" fmla="*/ 91 h 1400"/>
                  <a:gd name="T70" fmla="*/ 851 w 1235"/>
                  <a:gd name="T71" fmla="*/ 0 h 1400"/>
                  <a:gd name="T72" fmla="*/ 940 w 1235"/>
                  <a:gd name="T73" fmla="*/ 226 h 1400"/>
                  <a:gd name="T74" fmla="*/ 878 w 1235"/>
                  <a:gd name="T75" fmla="*/ 311 h 1400"/>
                  <a:gd name="T76" fmla="*/ 971 w 1235"/>
                  <a:gd name="T77" fmla="*/ 406 h 1400"/>
                  <a:gd name="T78" fmla="*/ 1134 w 1235"/>
                  <a:gd name="T79" fmla="*/ 406 h 1400"/>
                  <a:gd name="T80" fmla="*/ 1191 w 1235"/>
                  <a:gd name="T81" fmla="*/ 520 h 1400"/>
                  <a:gd name="T82" fmla="*/ 1154 w 1235"/>
                  <a:gd name="T83" fmla="*/ 810 h 1400"/>
                  <a:gd name="T84" fmla="*/ 997 w 1235"/>
                  <a:gd name="T85" fmla="*/ 1040 h 1400"/>
                  <a:gd name="T86" fmla="*/ 398 w 1235"/>
                  <a:gd name="T87" fmla="*/ 1197 h 1400"/>
                  <a:gd name="T88" fmla="*/ 155 w 1235"/>
                  <a:gd name="T89" fmla="*/ 599 h 1400"/>
                  <a:gd name="T90" fmla="*/ 161 w 1235"/>
                  <a:gd name="T91" fmla="*/ 406 h 1400"/>
                  <a:gd name="T92" fmla="*/ 159 w 1235"/>
                  <a:gd name="T93" fmla="*/ 317 h 1400"/>
                  <a:gd name="T94" fmla="*/ 130 w 1235"/>
                  <a:gd name="T95" fmla="*/ 157 h 1400"/>
                  <a:gd name="T96" fmla="*/ 241 w 1235"/>
                  <a:gd name="T97" fmla="*/ 21 h 1400"/>
                  <a:gd name="T98" fmla="*/ 419 w 1235"/>
                  <a:gd name="T99" fmla="*/ 21 h 1400"/>
                  <a:gd name="T100" fmla="*/ 528 w 1235"/>
                  <a:gd name="T101" fmla="*/ 155 h 1400"/>
                  <a:gd name="T102" fmla="*/ 745 w 1235"/>
                  <a:gd name="T103" fmla="*/ 147 h 1400"/>
                  <a:gd name="T104" fmla="*/ 882 w 1235"/>
                  <a:gd name="T105" fmla="*/ 257 h 1400"/>
                  <a:gd name="T106" fmla="*/ 851 w 1235"/>
                  <a:gd name="T107" fmla="*/ 135 h 1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35" h="1400">
                    <a:moveTo>
                      <a:pt x="200" y="452"/>
                    </a:moveTo>
                    <a:lnTo>
                      <a:pt x="194" y="499"/>
                    </a:lnTo>
                    <a:lnTo>
                      <a:pt x="194" y="549"/>
                    </a:lnTo>
                    <a:lnTo>
                      <a:pt x="200" y="599"/>
                    </a:lnTo>
                    <a:lnTo>
                      <a:pt x="202" y="607"/>
                    </a:lnTo>
                    <a:lnTo>
                      <a:pt x="70" y="843"/>
                    </a:lnTo>
                    <a:lnTo>
                      <a:pt x="215" y="876"/>
                    </a:lnTo>
                    <a:lnTo>
                      <a:pt x="215" y="1152"/>
                    </a:lnTo>
                    <a:lnTo>
                      <a:pt x="442" y="1152"/>
                    </a:lnTo>
                    <a:lnTo>
                      <a:pt x="442" y="1356"/>
                    </a:lnTo>
                    <a:lnTo>
                      <a:pt x="896" y="1356"/>
                    </a:lnTo>
                    <a:lnTo>
                      <a:pt x="896" y="1062"/>
                    </a:lnTo>
                    <a:lnTo>
                      <a:pt x="906" y="1056"/>
                    </a:lnTo>
                    <a:lnTo>
                      <a:pt x="960" y="1013"/>
                    </a:lnTo>
                    <a:lnTo>
                      <a:pt x="1006" y="967"/>
                    </a:lnTo>
                    <a:lnTo>
                      <a:pt x="1047" y="915"/>
                    </a:lnTo>
                    <a:lnTo>
                      <a:pt x="1082" y="859"/>
                    </a:lnTo>
                    <a:lnTo>
                      <a:pt x="1109" y="799"/>
                    </a:lnTo>
                    <a:lnTo>
                      <a:pt x="1129" y="735"/>
                    </a:lnTo>
                    <a:lnTo>
                      <a:pt x="1140" y="669"/>
                    </a:lnTo>
                    <a:lnTo>
                      <a:pt x="1146" y="601"/>
                    </a:lnTo>
                    <a:lnTo>
                      <a:pt x="1146" y="520"/>
                    </a:lnTo>
                    <a:lnTo>
                      <a:pt x="1140" y="452"/>
                    </a:lnTo>
                    <a:lnTo>
                      <a:pt x="200" y="452"/>
                    </a:lnTo>
                    <a:close/>
                    <a:moveTo>
                      <a:pt x="688" y="317"/>
                    </a:moveTo>
                    <a:lnTo>
                      <a:pt x="729" y="406"/>
                    </a:lnTo>
                    <a:lnTo>
                      <a:pt x="814" y="406"/>
                    </a:lnTo>
                    <a:lnTo>
                      <a:pt x="774" y="317"/>
                    </a:lnTo>
                    <a:lnTo>
                      <a:pt x="688" y="317"/>
                    </a:lnTo>
                    <a:close/>
                    <a:moveTo>
                      <a:pt x="624" y="317"/>
                    </a:moveTo>
                    <a:lnTo>
                      <a:pt x="607" y="319"/>
                    </a:lnTo>
                    <a:lnTo>
                      <a:pt x="591" y="329"/>
                    </a:lnTo>
                    <a:lnTo>
                      <a:pt x="582" y="344"/>
                    </a:lnTo>
                    <a:lnTo>
                      <a:pt x="578" y="362"/>
                    </a:lnTo>
                    <a:lnTo>
                      <a:pt x="578" y="406"/>
                    </a:lnTo>
                    <a:lnTo>
                      <a:pt x="679" y="406"/>
                    </a:lnTo>
                    <a:lnTo>
                      <a:pt x="638" y="317"/>
                    </a:lnTo>
                    <a:lnTo>
                      <a:pt x="624" y="317"/>
                    </a:lnTo>
                    <a:close/>
                    <a:moveTo>
                      <a:pt x="590" y="211"/>
                    </a:moveTo>
                    <a:lnTo>
                      <a:pt x="529" y="242"/>
                    </a:lnTo>
                    <a:lnTo>
                      <a:pt x="518" y="280"/>
                    </a:lnTo>
                    <a:lnTo>
                      <a:pt x="498" y="315"/>
                    </a:lnTo>
                    <a:lnTo>
                      <a:pt x="473" y="346"/>
                    </a:lnTo>
                    <a:lnTo>
                      <a:pt x="442" y="373"/>
                    </a:lnTo>
                    <a:lnTo>
                      <a:pt x="442" y="406"/>
                    </a:lnTo>
                    <a:lnTo>
                      <a:pt x="533" y="406"/>
                    </a:lnTo>
                    <a:lnTo>
                      <a:pt x="533" y="362"/>
                    </a:lnTo>
                    <a:lnTo>
                      <a:pt x="537" y="334"/>
                    </a:lnTo>
                    <a:lnTo>
                      <a:pt x="549" y="311"/>
                    </a:lnTo>
                    <a:lnTo>
                      <a:pt x="568" y="292"/>
                    </a:lnTo>
                    <a:lnTo>
                      <a:pt x="591" y="278"/>
                    </a:lnTo>
                    <a:lnTo>
                      <a:pt x="619" y="273"/>
                    </a:lnTo>
                    <a:lnTo>
                      <a:pt x="590" y="211"/>
                    </a:lnTo>
                    <a:close/>
                    <a:moveTo>
                      <a:pt x="330" y="182"/>
                    </a:moveTo>
                    <a:lnTo>
                      <a:pt x="322" y="182"/>
                    </a:lnTo>
                    <a:lnTo>
                      <a:pt x="316" y="186"/>
                    </a:lnTo>
                    <a:lnTo>
                      <a:pt x="310" y="189"/>
                    </a:lnTo>
                    <a:lnTo>
                      <a:pt x="308" y="197"/>
                    </a:lnTo>
                    <a:lnTo>
                      <a:pt x="306" y="203"/>
                    </a:lnTo>
                    <a:lnTo>
                      <a:pt x="308" y="211"/>
                    </a:lnTo>
                    <a:lnTo>
                      <a:pt x="310" y="216"/>
                    </a:lnTo>
                    <a:lnTo>
                      <a:pt x="316" y="222"/>
                    </a:lnTo>
                    <a:lnTo>
                      <a:pt x="322" y="224"/>
                    </a:lnTo>
                    <a:lnTo>
                      <a:pt x="330" y="226"/>
                    </a:lnTo>
                    <a:lnTo>
                      <a:pt x="338" y="224"/>
                    </a:lnTo>
                    <a:lnTo>
                      <a:pt x="343" y="222"/>
                    </a:lnTo>
                    <a:lnTo>
                      <a:pt x="347" y="216"/>
                    </a:lnTo>
                    <a:lnTo>
                      <a:pt x="351" y="211"/>
                    </a:lnTo>
                    <a:lnTo>
                      <a:pt x="351" y="203"/>
                    </a:lnTo>
                    <a:lnTo>
                      <a:pt x="351" y="197"/>
                    </a:lnTo>
                    <a:lnTo>
                      <a:pt x="347" y="189"/>
                    </a:lnTo>
                    <a:lnTo>
                      <a:pt x="343" y="186"/>
                    </a:lnTo>
                    <a:lnTo>
                      <a:pt x="338" y="182"/>
                    </a:lnTo>
                    <a:lnTo>
                      <a:pt x="330" y="182"/>
                    </a:lnTo>
                    <a:close/>
                    <a:moveTo>
                      <a:pt x="1134" y="143"/>
                    </a:moveTo>
                    <a:lnTo>
                      <a:pt x="1020" y="406"/>
                    </a:lnTo>
                    <a:lnTo>
                      <a:pt x="1084" y="406"/>
                    </a:lnTo>
                    <a:lnTo>
                      <a:pt x="1185" y="168"/>
                    </a:lnTo>
                    <a:lnTo>
                      <a:pt x="1134" y="143"/>
                    </a:lnTo>
                    <a:close/>
                    <a:moveTo>
                      <a:pt x="1191" y="91"/>
                    </a:moveTo>
                    <a:lnTo>
                      <a:pt x="1165" y="110"/>
                    </a:lnTo>
                    <a:lnTo>
                      <a:pt x="1191" y="122"/>
                    </a:lnTo>
                    <a:lnTo>
                      <a:pt x="1191" y="91"/>
                    </a:lnTo>
                    <a:close/>
                    <a:moveTo>
                      <a:pt x="617" y="75"/>
                    </a:moveTo>
                    <a:lnTo>
                      <a:pt x="591" y="160"/>
                    </a:lnTo>
                    <a:lnTo>
                      <a:pt x="613" y="151"/>
                    </a:lnTo>
                    <a:lnTo>
                      <a:pt x="667" y="271"/>
                    </a:lnTo>
                    <a:lnTo>
                      <a:pt x="752" y="271"/>
                    </a:lnTo>
                    <a:lnTo>
                      <a:pt x="685" y="126"/>
                    </a:lnTo>
                    <a:lnTo>
                      <a:pt x="706" y="114"/>
                    </a:lnTo>
                    <a:lnTo>
                      <a:pt x="617" y="75"/>
                    </a:lnTo>
                    <a:close/>
                    <a:moveTo>
                      <a:pt x="896" y="44"/>
                    </a:moveTo>
                    <a:lnTo>
                      <a:pt x="896" y="91"/>
                    </a:lnTo>
                    <a:lnTo>
                      <a:pt x="940" y="91"/>
                    </a:lnTo>
                    <a:lnTo>
                      <a:pt x="940" y="44"/>
                    </a:lnTo>
                    <a:lnTo>
                      <a:pt x="896" y="44"/>
                    </a:lnTo>
                    <a:close/>
                    <a:moveTo>
                      <a:pt x="330" y="44"/>
                    </a:moveTo>
                    <a:lnTo>
                      <a:pt x="287" y="50"/>
                    </a:lnTo>
                    <a:lnTo>
                      <a:pt x="250" y="68"/>
                    </a:lnTo>
                    <a:lnTo>
                      <a:pt x="217" y="91"/>
                    </a:lnTo>
                    <a:lnTo>
                      <a:pt x="192" y="124"/>
                    </a:lnTo>
                    <a:lnTo>
                      <a:pt x="177" y="162"/>
                    </a:lnTo>
                    <a:lnTo>
                      <a:pt x="171" y="203"/>
                    </a:lnTo>
                    <a:lnTo>
                      <a:pt x="175" y="236"/>
                    </a:lnTo>
                    <a:lnTo>
                      <a:pt x="184" y="269"/>
                    </a:lnTo>
                    <a:lnTo>
                      <a:pt x="202" y="296"/>
                    </a:lnTo>
                    <a:lnTo>
                      <a:pt x="223" y="321"/>
                    </a:lnTo>
                    <a:lnTo>
                      <a:pt x="250" y="340"/>
                    </a:lnTo>
                    <a:lnTo>
                      <a:pt x="262" y="346"/>
                    </a:lnTo>
                    <a:lnTo>
                      <a:pt x="262" y="406"/>
                    </a:lnTo>
                    <a:lnTo>
                      <a:pt x="306" y="406"/>
                    </a:lnTo>
                    <a:lnTo>
                      <a:pt x="306" y="267"/>
                    </a:lnTo>
                    <a:lnTo>
                      <a:pt x="289" y="257"/>
                    </a:lnTo>
                    <a:lnTo>
                      <a:pt x="274" y="244"/>
                    </a:lnTo>
                    <a:lnTo>
                      <a:pt x="264" y="224"/>
                    </a:lnTo>
                    <a:lnTo>
                      <a:pt x="262" y="203"/>
                    </a:lnTo>
                    <a:lnTo>
                      <a:pt x="268" y="178"/>
                    </a:lnTo>
                    <a:lnTo>
                      <a:pt x="281" y="157"/>
                    </a:lnTo>
                    <a:lnTo>
                      <a:pt x="303" y="141"/>
                    </a:lnTo>
                    <a:lnTo>
                      <a:pt x="330" y="135"/>
                    </a:lnTo>
                    <a:lnTo>
                      <a:pt x="355" y="141"/>
                    </a:lnTo>
                    <a:lnTo>
                      <a:pt x="378" y="157"/>
                    </a:lnTo>
                    <a:lnTo>
                      <a:pt x="392" y="178"/>
                    </a:lnTo>
                    <a:lnTo>
                      <a:pt x="398" y="203"/>
                    </a:lnTo>
                    <a:lnTo>
                      <a:pt x="394" y="224"/>
                    </a:lnTo>
                    <a:lnTo>
                      <a:pt x="384" y="244"/>
                    </a:lnTo>
                    <a:lnTo>
                      <a:pt x="370" y="257"/>
                    </a:lnTo>
                    <a:lnTo>
                      <a:pt x="351" y="267"/>
                    </a:lnTo>
                    <a:lnTo>
                      <a:pt x="351" y="406"/>
                    </a:lnTo>
                    <a:lnTo>
                      <a:pt x="398" y="406"/>
                    </a:lnTo>
                    <a:lnTo>
                      <a:pt x="398" y="346"/>
                    </a:lnTo>
                    <a:lnTo>
                      <a:pt x="409" y="340"/>
                    </a:lnTo>
                    <a:lnTo>
                      <a:pt x="436" y="321"/>
                    </a:lnTo>
                    <a:lnTo>
                      <a:pt x="458" y="296"/>
                    </a:lnTo>
                    <a:lnTo>
                      <a:pt x="473" y="269"/>
                    </a:lnTo>
                    <a:lnTo>
                      <a:pt x="485" y="236"/>
                    </a:lnTo>
                    <a:lnTo>
                      <a:pt x="489" y="203"/>
                    </a:lnTo>
                    <a:lnTo>
                      <a:pt x="483" y="162"/>
                    </a:lnTo>
                    <a:lnTo>
                      <a:pt x="465" y="124"/>
                    </a:lnTo>
                    <a:lnTo>
                      <a:pt x="442" y="91"/>
                    </a:lnTo>
                    <a:lnTo>
                      <a:pt x="409" y="68"/>
                    </a:lnTo>
                    <a:lnTo>
                      <a:pt x="372" y="50"/>
                    </a:lnTo>
                    <a:lnTo>
                      <a:pt x="330" y="44"/>
                    </a:lnTo>
                    <a:close/>
                    <a:moveTo>
                      <a:pt x="851" y="0"/>
                    </a:moveTo>
                    <a:lnTo>
                      <a:pt x="987" y="0"/>
                    </a:lnTo>
                    <a:lnTo>
                      <a:pt x="987" y="135"/>
                    </a:lnTo>
                    <a:lnTo>
                      <a:pt x="940" y="135"/>
                    </a:lnTo>
                    <a:lnTo>
                      <a:pt x="940" y="226"/>
                    </a:lnTo>
                    <a:lnTo>
                      <a:pt x="937" y="255"/>
                    </a:lnTo>
                    <a:lnTo>
                      <a:pt x="923" y="278"/>
                    </a:lnTo>
                    <a:lnTo>
                      <a:pt x="904" y="300"/>
                    </a:lnTo>
                    <a:lnTo>
                      <a:pt x="878" y="311"/>
                    </a:lnTo>
                    <a:lnTo>
                      <a:pt x="851" y="317"/>
                    </a:lnTo>
                    <a:lnTo>
                      <a:pt x="824" y="317"/>
                    </a:lnTo>
                    <a:lnTo>
                      <a:pt x="865" y="406"/>
                    </a:lnTo>
                    <a:lnTo>
                      <a:pt x="971" y="406"/>
                    </a:lnTo>
                    <a:lnTo>
                      <a:pt x="1103" y="99"/>
                    </a:lnTo>
                    <a:lnTo>
                      <a:pt x="1235" y="0"/>
                    </a:lnTo>
                    <a:lnTo>
                      <a:pt x="1235" y="162"/>
                    </a:lnTo>
                    <a:lnTo>
                      <a:pt x="1134" y="406"/>
                    </a:lnTo>
                    <a:lnTo>
                      <a:pt x="1179" y="406"/>
                    </a:lnTo>
                    <a:lnTo>
                      <a:pt x="1181" y="425"/>
                    </a:lnTo>
                    <a:lnTo>
                      <a:pt x="1189" y="472"/>
                    </a:lnTo>
                    <a:lnTo>
                      <a:pt x="1191" y="520"/>
                    </a:lnTo>
                    <a:lnTo>
                      <a:pt x="1191" y="601"/>
                    </a:lnTo>
                    <a:lnTo>
                      <a:pt x="1187" y="673"/>
                    </a:lnTo>
                    <a:lnTo>
                      <a:pt x="1173" y="742"/>
                    </a:lnTo>
                    <a:lnTo>
                      <a:pt x="1154" y="810"/>
                    </a:lnTo>
                    <a:lnTo>
                      <a:pt x="1125" y="874"/>
                    </a:lnTo>
                    <a:lnTo>
                      <a:pt x="1090" y="934"/>
                    </a:lnTo>
                    <a:lnTo>
                      <a:pt x="1047" y="990"/>
                    </a:lnTo>
                    <a:lnTo>
                      <a:pt x="997" y="1040"/>
                    </a:lnTo>
                    <a:lnTo>
                      <a:pt x="940" y="1087"/>
                    </a:lnTo>
                    <a:lnTo>
                      <a:pt x="940" y="1400"/>
                    </a:lnTo>
                    <a:lnTo>
                      <a:pt x="398" y="1400"/>
                    </a:lnTo>
                    <a:lnTo>
                      <a:pt x="398" y="1197"/>
                    </a:lnTo>
                    <a:lnTo>
                      <a:pt x="171" y="1197"/>
                    </a:lnTo>
                    <a:lnTo>
                      <a:pt x="171" y="913"/>
                    </a:lnTo>
                    <a:lnTo>
                      <a:pt x="0" y="874"/>
                    </a:lnTo>
                    <a:lnTo>
                      <a:pt x="155" y="599"/>
                    </a:lnTo>
                    <a:lnTo>
                      <a:pt x="149" y="541"/>
                    </a:lnTo>
                    <a:lnTo>
                      <a:pt x="149" y="483"/>
                    </a:lnTo>
                    <a:lnTo>
                      <a:pt x="157" y="425"/>
                    </a:lnTo>
                    <a:lnTo>
                      <a:pt x="161" y="406"/>
                    </a:lnTo>
                    <a:lnTo>
                      <a:pt x="215" y="406"/>
                    </a:lnTo>
                    <a:lnTo>
                      <a:pt x="215" y="373"/>
                    </a:lnTo>
                    <a:lnTo>
                      <a:pt x="184" y="346"/>
                    </a:lnTo>
                    <a:lnTo>
                      <a:pt x="159" y="317"/>
                    </a:lnTo>
                    <a:lnTo>
                      <a:pt x="142" y="282"/>
                    </a:lnTo>
                    <a:lnTo>
                      <a:pt x="130" y="244"/>
                    </a:lnTo>
                    <a:lnTo>
                      <a:pt x="126" y="203"/>
                    </a:lnTo>
                    <a:lnTo>
                      <a:pt x="130" y="157"/>
                    </a:lnTo>
                    <a:lnTo>
                      <a:pt x="146" y="114"/>
                    </a:lnTo>
                    <a:lnTo>
                      <a:pt x="171" y="77"/>
                    </a:lnTo>
                    <a:lnTo>
                      <a:pt x="202" y="44"/>
                    </a:lnTo>
                    <a:lnTo>
                      <a:pt x="241" y="21"/>
                    </a:lnTo>
                    <a:lnTo>
                      <a:pt x="283" y="6"/>
                    </a:lnTo>
                    <a:lnTo>
                      <a:pt x="330" y="0"/>
                    </a:lnTo>
                    <a:lnTo>
                      <a:pt x="376" y="6"/>
                    </a:lnTo>
                    <a:lnTo>
                      <a:pt x="419" y="21"/>
                    </a:lnTo>
                    <a:lnTo>
                      <a:pt x="456" y="44"/>
                    </a:lnTo>
                    <a:lnTo>
                      <a:pt x="487" y="75"/>
                    </a:lnTo>
                    <a:lnTo>
                      <a:pt x="512" y="112"/>
                    </a:lnTo>
                    <a:lnTo>
                      <a:pt x="528" y="155"/>
                    </a:lnTo>
                    <a:lnTo>
                      <a:pt x="533" y="201"/>
                    </a:lnTo>
                    <a:lnTo>
                      <a:pt x="586" y="13"/>
                    </a:lnTo>
                    <a:lnTo>
                      <a:pt x="814" y="112"/>
                    </a:lnTo>
                    <a:lnTo>
                      <a:pt x="745" y="147"/>
                    </a:lnTo>
                    <a:lnTo>
                      <a:pt x="803" y="271"/>
                    </a:lnTo>
                    <a:lnTo>
                      <a:pt x="851" y="271"/>
                    </a:lnTo>
                    <a:lnTo>
                      <a:pt x="869" y="267"/>
                    </a:lnTo>
                    <a:lnTo>
                      <a:pt x="882" y="257"/>
                    </a:lnTo>
                    <a:lnTo>
                      <a:pt x="892" y="244"/>
                    </a:lnTo>
                    <a:lnTo>
                      <a:pt x="896" y="226"/>
                    </a:lnTo>
                    <a:lnTo>
                      <a:pt x="896" y="135"/>
                    </a:lnTo>
                    <a:lnTo>
                      <a:pt x="851" y="135"/>
                    </a:lnTo>
                    <a:lnTo>
                      <a:pt x="85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33" name="Freeform 16">
                <a:extLst>
                  <a:ext uri="{FF2B5EF4-FFF2-40B4-BE49-F238E27FC236}">
                    <a16:creationId xmlns:a16="http://schemas.microsoft.com/office/drawing/2014/main" id="{F5729C19-202D-4345-8DB8-FE5BE4B4E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0213" y="3438525"/>
                <a:ext cx="360363" cy="177800"/>
              </a:xfrm>
              <a:custGeom>
                <a:avLst/>
                <a:gdLst>
                  <a:gd name="T0" fmla="*/ 0 w 227"/>
                  <a:gd name="T1" fmla="*/ 0 h 112"/>
                  <a:gd name="T2" fmla="*/ 44 w 227"/>
                  <a:gd name="T3" fmla="*/ 0 h 112"/>
                  <a:gd name="T4" fmla="*/ 48 w 227"/>
                  <a:gd name="T5" fmla="*/ 23 h 112"/>
                  <a:gd name="T6" fmla="*/ 58 w 227"/>
                  <a:gd name="T7" fmla="*/ 43 h 112"/>
                  <a:gd name="T8" fmla="*/ 72 w 227"/>
                  <a:gd name="T9" fmla="*/ 56 h 112"/>
                  <a:gd name="T10" fmla="*/ 91 w 227"/>
                  <a:gd name="T11" fmla="*/ 64 h 112"/>
                  <a:gd name="T12" fmla="*/ 112 w 227"/>
                  <a:gd name="T13" fmla="*/ 68 h 112"/>
                  <a:gd name="T14" fmla="*/ 134 w 227"/>
                  <a:gd name="T15" fmla="*/ 64 h 112"/>
                  <a:gd name="T16" fmla="*/ 153 w 227"/>
                  <a:gd name="T17" fmla="*/ 56 h 112"/>
                  <a:gd name="T18" fmla="*/ 167 w 227"/>
                  <a:gd name="T19" fmla="*/ 43 h 112"/>
                  <a:gd name="T20" fmla="*/ 176 w 227"/>
                  <a:gd name="T21" fmla="*/ 23 h 112"/>
                  <a:gd name="T22" fmla="*/ 180 w 227"/>
                  <a:gd name="T23" fmla="*/ 0 h 112"/>
                  <a:gd name="T24" fmla="*/ 227 w 227"/>
                  <a:gd name="T25" fmla="*/ 0 h 112"/>
                  <a:gd name="T26" fmla="*/ 223 w 227"/>
                  <a:gd name="T27" fmla="*/ 31 h 112"/>
                  <a:gd name="T28" fmla="*/ 211 w 227"/>
                  <a:gd name="T29" fmla="*/ 58 h 112"/>
                  <a:gd name="T30" fmla="*/ 192 w 227"/>
                  <a:gd name="T31" fmla="*/ 81 h 112"/>
                  <a:gd name="T32" fmla="*/ 171 w 227"/>
                  <a:gd name="T33" fmla="*/ 99 h 112"/>
                  <a:gd name="T34" fmla="*/ 143 w 227"/>
                  <a:gd name="T35" fmla="*/ 108 h 112"/>
                  <a:gd name="T36" fmla="*/ 112 w 227"/>
                  <a:gd name="T37" fmla="*/ 112 h 112"/>
                  <a:gd name="T38" fmla="*/ 83 w 227"/>
                  <a:gd name="T39" fmla="*/ 108 h 112"/>
                  <a:gd name="T40" fmla="*/ 56 w 227"/>
                  <a:gd name="T41" fmla="*/ 99 h 112"/>
                  <a:gd name="T42" fmla="*/ 33 w 227"/>
                  <a:gd name="T43" fmla="*/ 81 h 112"/>
                  <a:gd name="T44" fmla="*/ 15 w 227"/>
                  <a:gd name="T45" fmla="*/ 58 h 112"/>
                  <a:gd name="T46" fmla="*/ 4 w 227"/>
                  <a:gd name="T47" fmla="*/ 31 h 112"/>
                  <a:gd name="T48" fmla="*/ 0 w 227"/>
                  <a:gd name="T49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27" h="112">
                    <a:moveTo>
                      <a:pt x="0" y="0"/>
                    </a:moveTo>
                    <a:lnTo>
                      <a:pt x="44" y="0"/>
                    </a:lnTo>
                    <a:lnTo>
                      <a:pt x="48" y="23"/>
                    </a:lnTo>
                    <a:lnTo>
                      <a:pt x="58" y="43"/>
                    </a:lnTo>
                    <a:lnTo>
                      <a:pt x="72" y="56"/>
                    </a:lnTo>
                    <a:lnTo>
                      <a:pt x="91" y="64"/>
                    </a:lnTo>
                    <a:lnTo>
                      <a:pt x="112" y="68"/>
                    </a:lnTo>
                    <a:lnTo>
                      <a:pt x="134" y="64"/>
                    </a:lnTo>
                    <a:lnTo>
                      <a:pt x="153" y="56"/>
                    </a:lnTo>
                    <a:lnTo>
                      <a:pt x="167" y="43"/>
                    </a:lnTo>
                    <a:lnTo>
                      <a:pt x="176" y="23"/>
                    </a:lnTo>
                    <a:lnTo>
                      <a:pt x="180" y="0"/>
                    </a:lnTo>
                    <a:lnTo>
                      <a:pt x="227" y="0"/>
                    </a:lnTo>
                    <a:lnTo>
                      <a:pt x="223" y="31"/>
                    </a:lnTo>
                    <a:lnTo>
                      <a:pt x="211" y="58"/>
                    </a:lnTo>
                    <a:lnTo>
                      <a:pt x="192" y="81"/>
                    </a:lnTo>
                    <a:lnTo>
                      <a:pt x="171" y="99"/>
                    </a:lnTo>
                    <a:lnTo>
                      <a:pt x="143" y="108"/>
                    </a:lnTo>
                    <a:lnTo>
                      <a:pt x="112" y="112"/>
                    </a:lnTo>
                    <a:lnTo>
                      <a:pt x="83" y="108"/>
                    </a:lnTo>
                    <a:lnTo>
                      <a:pt x="56" y="99"/>
                    </a:lnTo>
                    <a:lnTo>
                      <a:pt x="33" y="81"/>
                    </a:lnTo>
                    <a:lnTo>
                      <a:pt x="15" y="58"/>
                    </a:lnTo>
                    <a:lnTo>
                      <a:pt x="4" y="3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DCBC21B3-A7E4-4078-9CBE-3D721A29C975}"/>
                </a:ext>
              </a:extLst>
            </p:cNvPr>
            <p:cNvGrpSpPr/>
            <p:nvPr/>
          </p:nvGrpSpPr>
          <p:grpSpPr>
            <a:xfrm>
              <a:off x="3257069" y="2809115"/>
              <a:ext cx="356376" cy="360218"/>
              <a:chOff x="10588626" y="4379913"/>
              <a:chExt cx="3549649" cy="3549650"/>
            </a:xfrm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</a:gradFill>
          </p:grpSpPr>
          <p:sp>
            <p:nvSpPr>
              <p:cNvPr id="128" name="Freeform 6">
                <a:extLst>
                  <a:ext uri="{FF2B5EF4-FFF2-40B4-BE49-F238E27FC236}">
                    <a16:creationId xmlns:a16="http://schemas.microsoft.com/office/drawing/2014/main" id="{6DE2DBF1-6867-4649-AF3A-4EA2D0ABF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588626" y="5578475"/>
                <a:ext cx="2351087" cy="2351088"/>
              </a:xfrm>
              <a:custGeom>
                <a:avLst/>
                <a:gdLst>
                  <a:gd name="T0" fmla="*/ 894 w 2962"/>
                  <a:gd name="T1" fmla="*/ 561 h 2962"/>
                  <a:gd name="T2" fmla="*/ 648 w 2962"/>
                  <a:gd name="T3" fmla="*/ 832 h 2962"/>
                  <a:gd name="T4" fmla="*/ 452 w 2962"/>
                  <a:gd name="T5" fmla="*/ 897 h 2962"/>
                  <a:gd name="T6" fmla="*/ 396 w 2962"/>
                  <a:gd name="T7" fmla="*/ 1215 h 2962"/>
                  <a:gd name="T8" fmla="*/ 426 w 2962"/>
                  <a:gd name="T9" fmla="*/ 1525 h 2962"/>
                  <a:gd name="T10" fmla="*/ 372 w 2962"/>
                  <a:gd name="T11" fmla="*/ 1774 h 2962"/>
                  <a:gd name="T12" fmla="*/ 488 w 2962"/>
                  <a:gd name="T13" fmla="*/ 2058 h 2962"/>
                  <a:gd name="T14" fmla="*/ 704 w 2962"/>
                  <a:gd name="T15" fmla="*/ 2196 h 2962"/>
                  <a:gd name="T16" fmla="*/ 902 w 2962"/>
                  <a:gd name="T17" fmla="*/ 2437 h 2962"/>
                  <a:gd name="T18" fmla="*/ 1126 w 2962"/>
                  <a:gd name="T19" fmla="*/ 2691 h 2962"/>
                  <a:gd name="T20" fmla="*/ 1315 w 2962"/>
                  <a:gd name="T21" fmla="*/ 2528 h 2962"/>
                  <a:gd name="T22" fmla="*/ 1683 w 2962"/>
                  <a:gd name="T23" fmla="*/ 2534 h 2962"/>
                  <a:gd name="T24" fmla="*/ 2105 w 2962"/>
                  <a:gd name="T25" fmla="*/ 2665 h 2962"/>
                  <a:gd name="T26" fmla="*/ 2082 w 2962"/>
                  <a:gd name="T27" fmla="*/ 2369 h 2962"/>
                  <a:gd name="T28" fmla="*/ 2338 w 2962"/>
                  <a:gd name="T29" fmla="*/ 2103 h 2962"/>
                  <a:gd name="T30" fmla="*/ 2664 w 2962"/>
                  <a:gd name="T31" fmla="*/ 2105 h 2962"/>
                  <a:gd name="T32" fmla="*/ 2534 w 2962"/>
                  <a:gd name="T33" fmla="*/ 1683 h 2962"/>
                  <a:gd name="T34" fmla="*/ 2527 w 2962"/>
                  <a:gd name="T35" fmla="*/ 1314 h 2962"/>
                  <a:gd name="T36" fmla="*/ 2759 w 2962"/>
                  <a:gd name="T37" fmla="*/ 1086 h 2962"/>
                  <a:gd name="T38" fmla="*/ 2368 w 2962"/>
                  <a:gd name="T39" fmla="*/ 880 h 2962"/>
                  <a:gd name="T40" fmla="*/ 2104 w 2962"/>
                  <a:gd name="T41" fmla="*/ 623 h 2962"/>
                  <a:gd name="T42" fmla="*/ 2105 w 2962"/>
                  <a:gd name="T43" fmla="*/ 297 h 2962"/>
                  <a:gd name="T44" fmla="*/ 1683 w 2962"/>
                  <a:gd name="T45" fmla="*/ 429 h 2962"/>
                  <a:gd name="T46" fmla="*/ 1314 w 2962"/>
                  <a:gd name="T47" fmla="*/ 435 h 2962"/>
                  <a:gd name="T48" fmla="*/ 1086 w 2962"/>
                  <a:gd name="T49" fmla="*/ 204 h 2962"/>
                  <a:gd name="T50" fmla="*/ 2248 w 2962"/>
                  <a:gd name="T51" fmla="*/ 154 h 2962"/>
                  <a:gd name="T52" fmla="*/ 2302 w 2962"/>
                  <a:gd name="T53" fmla="*/ 335 h 2962"/>
                  <a:gd name="T54" fmla="*/ 2546 w 2962"/>
                  <a:gd name="T55" fmla="*/ 680 h 2962"/>
                  <a:gd name="T56" fmla="*/ 2784 w 2962"/>
                  <a:gd name="T57" fmla="*/ 692 h 2962"/>
                  <a:gd name="T58" fmla="*/ 2957 w 2962"/>
                  <a:gd name="T59" fmla="*/ 1051 h 2962"/>
                  <a:gd name="T60" fmla="*/ 2899 w 2962"/>
                  <a:gd name="T61" fmla="*/ 1231 h 2962"/>
                  <a:gd name="T62" fmla="*/ 2872 w 2962"/>
                  <a:gd name="T63" fmla="*/ 1710 h 2962"/>
                  <a:gd name="T64" fmla="*/ 2962 w 2962"/>
                  <a:gd name="T65" fmla="*/ 1877 h 2962"/>
                  <a:gd name="T66" fmla="*/ 2784 w 2962"/>
                  <a:gd name="T67" fmla="*/ 2270 h 2962"/>
                  <a:gd name="T68" fmla="*/ 2546 w 2962"/>
                  <a:gd name="T69" fmla="*/ 2282 h 2962"/>
                  <a:gd name="T70" fmla="*/ 2302 w 2962"/>
                  <a:gd name="T71" fmla="*/ 2627 h 2962"/>
                  <a:gd name="T72" fmla="*/ 2248 w 2962"/>
                  <a:gd name="T73" fmla="*/ 2809 h 2962"/>
                  <a:gd name="T74" fmla="*/ 1844 w 2962"/>
                  <a:gd name="T75" fmla="*/ 2961 h 2962"/>
                  <a:gd name="T76" fmla="*/ 1626 w 2962"/>
                  <a:gd name="T77" fmla="*/ 2729 h 2962"/>
                  <a:gd name="T78" fmla="*/ 1232 w 2962"/>
                  <a:gd name="T79" fmla="*/ 2898 h 2962"/>
                  <a:gd name="T80" fmla="*/ 1054 w 2962"/>
                  <a:gd name="T81" fmla="*/ 2958 h 2962"/>
                  <a:gd name="T82" fmla="*/ 676 w 2962"/>
                  <a:gd name="T83" fmla="*/ 2756 h 2962"/>
                  <a:gd name="T84" fmla="*/ 701 w 2962"/>
                  <a:gd name="T85" fmla="*/ 2465 h 2962"/>
                  <a:gd name="T86" fmla="*/ 301 w 2962"/>
                  <a:gd name="T87" fmla="*/ 2306 h 2962"/>
                  <a:gd name="T88" fmla="*/ 133 w 2962"/>
                  <a:gd name="T89" fmla="*/ 2221 h 2962"/>
                  <a:gd name="T90" fmla="*/ 9 w 2962"/>
                  <a:gd name="T91" fmla="*/ 1814 h 2962"/>
                  <a:gd name="T92" fmla="*/ 226 w 2962"/>
                  <a:gd name="T93" fmla="*/ 1530 h 2962"/>
                  <a:gd name="T94" fmla="*/ 23 w 2962"/>
                  <a:gd name="T95" fmla="*/ 1180 h 2962"/>
                  <a:gd name="T96" fmla="*/ 116 w 2962"/>
                  <a:gd name="T97" fmla="*/ 771 h 2962"/>
                  <a:gd name="T98" fmla="*/ 268 w 2962"/>
                  <a:gd name="T99" fmla="*/ 656 h 2962"/>
                  <a:gd name="T100" fmla="*/ 628 w 2962"/>
                  <a:gd name="T101" fmla="*/ 559 h 2962"/>
                  <a:gd name="T102" fmla="*/ 663 w 2962"/>
                  <a:gd name="T103" fmla="*/ 236 h 2962"/>
                  <a:gd name="T104" fmla="*/ 1019 w 2962"/>
                  <a:gd name="T105" fmla="*/ 14 h 2962"/>
                  <a:gd name="T106" fmla="*/ 1206 w 2962"/>
                  <a:gd name="T107" fmla="*/ 41 h 2962"/>
                  <a:gd name="T108" fmla="*/ 1626 w 2962"/>
                  <a:gd name="T109" fmla="*/ 234 h 2962"/>
                  <a:gd name="T110" fmla="*/ 1844 w 2962"/>
                  <a:gd name="T111" fmla="*/ 2 h 2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962" h="2962">
                    <a:moveTo>
                      <a:pt x="1086" y="204"/>
                    </a:moveTo>
                    <a:lnTo>
                      <a:pt x="858" y="297"/>
                    </a:lnTo>
                    <a:lnTo>
                      <a:pt x="897" y="452"/>
                    </a:lnTo>
                    <a:lnTo>
                      <a:pt x="904" y="489"/>
                    </a:lnTo>
                    <a:lnTo>
                      <a:pt x="902" y="526"/>
                    </a:lnTo>
                    <a:lnTo>
                      <a:pt x="894" y="561"/>
                    </a:lnTo>
                    <a:lnTo>
                      <a:pt x="879" y="593"/>
                    </a:lnTo>
                    <a:lnTo>
                      <a:pt x="859" y="623"/>
                    </a:lnTo>
                    <a:lnTo>
                      <a:pt x="832" y="649"/>
                    </a:lnTo>
                    <a:lnTo>
                      <a:pt x="765" y="705"/>
                    </a:lnTo>
                    <a:lnTo>
                      <a:pt x="704" y="766"/>
                    </a:lnTo>
                    <a:lnTo>
                      <a:pt x="648" y="832"/>
                    </a:lnTo>
                    <a:lnTo>
                      <a:pt x="623" y="859"/>
                    </a:lnTo>
                    <a:lnTo>
                      <a:pt x="593" y="880"/>
                    </a:lnTo>
                    <a:lnTo>
                      <a:pt x="560" y="895"/>
                    </a:lnTo>
                    <a:lnTo>
                      <a:pt x="525" y="903"/>
                    </a:lnTo>
                    <a:lnTo>
                      <a:pt x="488" y="904"/>
                    </a:lnTo>
                    <a:lnTo>
                      <a:pt x="452" y="897"/>
                    </a:lnTo>
                    <a:lnTo>
                      <a:pt x="374" y="877"/>
                    </a:lnTo>
                    <a:lnTo>
                      <a:pt x="297" y="858"/>
                    </a:lnTo>
                    <a:lnTo>
                      <a:pt x="203" y="1086"/>
                    </a:lnTo>
                    <a:lnTo>
                      <a:pt x="340" y="1166"/>
                    </a:lnTo>
                    <a:lnTo>
                      <a:pt x="372" y="1188"/>
                    </a:lnTo>
                    <a:lnTo>
                      <a:pt x="396" y="1215"/>
                    </a:lnTo>
                    <a:lnTo>
                      <a:pt x="415" y="1245"/>
                    </a:lnTo>
                    <a:lnTo>
                      <a:pt x="429" y="1279"/>
                    </a:lnTo>
                    <a:lnTo>
                      <a:pt x="434" y="1314"/>
                    </a:lnTo>
                    <a:lnTo>
                      <a:pt x="434" y="1352"/>
                    </a:lnTo>
                    <a:lnTo>
                      <a:pt x="426" y="1438"/>
                    </a:lnTo>
                    <a:lnTo>
                      <a:pt x="426" y="1525"/>
                    </a:lnTo>
                    <a:lnTo>
                      <a:pt x="434" y="1610"/>
                    </a:lnTo>
                    <a:lnTo>
                      <a:pt x="434" y="1648"/>
                    </a:lnTo>
                    <a:lnTo>
                      <a:pt x="429" y="1683"/>
                    </a:lnTo>
                    <a:lnTo>
                      <a:pt x="415" y="1717"/>
                    </a:lnTo>
                    <a:lnTo>
                      <a:pt x="396" y="1747"/>
                    </a:lnTo>
                    <a:lnTo>
                      <a:pt x="372" y="1774"/>
                    </a:lnTo>
                    <a:lnTo>
                      <a:pt x="340" y="1796"/>
                    </a:lnTo>
                    <a:lnTo>
                      <a:pt x="203" y="1877"/>
                    </a:lnTo>
                    <a:lnTo>
                      <a:pt x="297" y="2105"/>
                    </a:lnTo>
                    <a:lnTo>
                      <a:pt x="374" y="2085"/>
                    </a:lnTo>
                    <a:lnTo>
                      <a:pt x="452" y="2065"/>
                    </a:lnTo>
                    <a:lnTo>
                      <a:pt x="488" y="2058"/>
                    </a:lnTo>
                    <a:lnTo>
                      <a:pt x="525" y="2059"/>
                    </a:lnTo>
                    <a:lnTo>
                      <a:pt x="560" y="2067"/>
                    </a:lnTo>
                    <a:lnTo>
                      <a:pt x="593" y="2082"/>
                    </a:lnTo>
                    <a:lnTo>
                      <a:pt x="623" y="2103"/>
                    </a:lnTo>
                    <a:lnTo>
                      <a:pt x="648" y="2130"/>
                    </a:lnTo>
                    <a:lnTo>
                      <a:pt x="704" y="2196"/>
                    </a:lnTo>
                    <a:lnTo>
                      <a:pt x="765" y="2258"/>
                    </a:lnTo>
                    <a:lnTo>
                      <a:pt x="832" y="2313"/>
                    </a:lnTo>
                    <a:lnTo>
                      <a:pt x="859" y="2339"/>
                    </a:lnTo>
                    <a:lnTo>
                      <a:pt x="879" y="2369"/>
                    </a:lnTo>
                    <a:lnTo>
                      <a:pt x="894" y="2401"/>
                    </a:lnTo>
                    <a:lnTo>
                      <a:pt x="902" y="2437"/>
                    </a:lnTo>
                    <a:lnTo>
                      <a:pt x="904" y="2473"/>
                    </a:lnTo>
                    <a:lnTo>
                      <a:pt x="897" y="2510"/>
                    </a:lnTo>
                    <a:lnTo>
                      <a:pt x="877" y="2587"/>
                    </a:lnTo>
                    <a:lnTo>
                      <a:pt x="858" y="2665"/>
                    </a:lnTo>
                    <a:lnTo>
                      <a:pt x="1086" y="2758"/>
                    </a:lnTo>
                    <a:lnTo>
                      <a:pt x="1126" y="2691"/>
                    </a:lnTo>
                    <a:lnTo>
                      <a:pt x="1166" y="2621"/>
                    </a:lnTo>
                    <a:lnTo>
                      <a:pt x="1187" y="2591"/>
                    </a:lnTo>
                    <a:lnTo>
                      <a:pt x="1215" y="2566"/>
                    </a:lnTo>
                    <a:lnTo>
                      <a:pt x="1244" y="2547"/>
                    </a:lnTo>
                    <a:lnTo>
                      <a:pt x="1278" y="2534"/>
                    </a:lnTo>
                    <a:lnTo>
                      <a:pt x="1315" y="2528"/>
                    </a:lnTo>
                    <a:lnTo>
                      <a:pt x="1352" y="2529"/>
                    </a:lnTo>
                    <a:lnTo>
                      <a:pt x="1437" y="2536"/>
                    </a:lnTo>
                    <a:lnTo>
                      <a:pt x="1524" y="2536"/>
                    </a:lnTo>
                    <a:lnTo>
                      <a:pt x="1611" y="2529"/>
                    </a:lnTo>
                    <a:lnTo>
                      <a:pt x="1648" y="2528"/>
                    </a:lnTo>
                    <a:lnTo>
                      <a:pt x="1683" y="2534"/>
                    </a:lnTo>
                    <a:lnTo>
                      <a:pt x="1717" y="2547"/>
                    </a:lnTo>
                    <a:lnTo>
                      <a:pt x="1748" y="2566"/>
                    </a:lnTo>
                    <a:lnTo>
                      <a:pt x="1774" y="2591"/>
                    </a:lnTo>
                    <a:lnTo>
                      <a:pt x="1796" y="2621"/>
                    </a:lnTo>
                    <a:lnTo>
                      <a:pt x="1877" y="2758"/>
                    </a:lnTo>
                    <a:lnTo>
                      <a:pt x="2105" y="2665"/>
                    </a:lnTo>
                    <a:lnTo>
                      <a:pt x="2085" y="2587"/>
                    </a:lnTo>
                    <a:lnTo>
                      <a:pt x="2064" y="2510"/>
                    </a:lnTo>
                    <a:lnTo>
                      <a:pt x="2059" y="2473"/>
                    </a:lnTo>
                    <a:lnTo>
                      <a:pt x="2059" y="2437"/>
                    </a:lnTo>
                    <a:lnTo>
                      <a:pt x="2067" y="2401"/>
                    </a:lnTo>
                    <a:lnTo>
                      <a:pt x="2082" y="2369"/>
                    </a:lnTo>
                    <a:lnTo>
                      <a:pt x="2104" y="2339"/>
                    </a:lnTo>
                    <a:lnTo>
                      <a:pt x="2129" y="2313"/>
                    </a:lnTo>
                    <a:lnTo>
                      <a:pt x="2196" y="2258"/>
                    </a:lnTo>
                    <a:lnTo>
                      <a:pt x="2257" y="2196"/>
                    </a:lnTo>
                    <a:lnTo>
                      <a:pt x="2313" y="2130"/>
                    </a:lnTo>
                    <a:lnTo>
                      <a:pt x="2338" y="2103"/>
                    </a:lnTo>
                    <a:lnTo>
                      <a:pt x="2368" y="2082"/>
                    </a:lnTo>
                    <a:lnTo>
                      <a:pt x="2401" y="2067"/>
                    </a:lnTo>
                    <a:lnTo>
                      <a:pt x="2436" y="2059"/>
                    </a:lnTo>
                    <a:lnTo>
                      <a:pt x="2473" y="2058"/>
                    </a:lnTo>
                    <a:lnTo>
                      <a:pt x="2510" y="2065"/>
                    </a:lnTo>
                    <a:lnTo>
                      <a:pt x="2664" y="2105"/>
                    </a:lnTo>
                    <a:lnTo>
                      <a:pt x="2759" y="1876"/>
                    </a:lnTo>
                    <a:lnTo>
                      <a:pt x="2621" y="1796"/>
                    </a:lnTo>
                    <a:lnTo>
                      <a:pt x="2591" y="1774"/>
                    </a:lnTo>
                    <a:lnTo>
                      <a:pt x="2565" y="1747"/>
                    </a:lnTo>
                    <a:lnTo>
                      <a:pt x="2546" y="1717"/>
                    </a:lnTo>
                    <a:lnTo>
                      <a:pt x="2534" y="1683"/>
                    </a:lnTo>
                    <a:lnTo>
                      <a:pt x="2527" y="1648"/>
                    </a:lnTo>
                    <a:lnTo>
                      <a:pt x="2529" y="1610"/>
                    </a:lnTo>
                    <a:lnTo>
                      <a:pt x="2535" y="1525"/>
                    </a:lnTo>
                    <a:lnTo>
                      <a:pt x="2535" y="1438"/>
                    </a:lnTo>
                    <a:lnTo>
                      <a:pt x="2529" y="1352"/>
                    </a:lnTo>
                    <a:lnTo>
                      <a:pt x="2527" y="1314"/>
                    </a:lnTo>
                    <a:lnTo>
                      <a:pt x="2534" y="1279"/>
                    </a:lnTo>
                    <a:lnTo>
                      <a:pt x="2546" y="1245"/>
                    </a:lnTo>
                    <a:lnTo>
                      <a:pt x="2565" y="1215"/>
                    </a:lnTo>
                    <a:lnTo>
                      <a:pt x="2591" y="1188"/>
                    </a:lnTo>
                    <a:lnTo>
                      <a:pt x="2621" y="1166"/>
                    </a:lnTo>
                    <a:lnTo>
                      <a:pt x="2759" y="1086"/>
                    </a:lnTo>
                    <a:lnTo>
                      <a:pt x="2664" y="857"/>
                    </a:lnTo>
                    <a:lnTo>
                      <a:pt x="2510" y="897"/>
                    </a:lnTo>
                    <a:lnTo>
                      <a:pt x="2473" y="904"/>
                    </a:lnTo>
                    <a:lnTo>
                      <a:pt x="2436" y="903"/>
                    </a:lnTo>
                    <a:lnTo>
                      <a:pt x="2401" y="895"/>
                    </a:lnTo>
                    <a:lnTo>
                      <a:pt x="2368" y="880"/>
                    </a:lnTo>
                    <a:lnTo>
                      <a:pt x="2338" y="859"/>
                    </a:lnTo>
                    <a:lnTo>
                      <a:pt x="2313" y="832"/>
                    </a:lnTo>
                    <a:lnTo>
                      <a:pt x="2257" y="766"/>
                    </a:lnTo>
                    <a:lnTo>
                      <a:pt x="2196" y="705"/>
                    </a:lnTo>
                    <a:lnTo>
                      <a:pt x="2129" y="649"/>
                    </a:lnTo>
                    <a:lnTo>
                      <a:pt x="2104" y="623"/>
                    </a:lnTo>
                    <a:lnTo>
                      <a:pt x="2082" y="593"/>
                    </a:lnTo>
                    <a:lnTo>
                      <a:pt x="2067" y="561"/>
                    </a:lnTo>
                    <a:lnTo>
                      <a:pt x="2059" y="526"/>
                    </a:lnTo>
                    <a:lnTo>
                      <a:pt x="2059" y="489"/>
                    </a:lnTo>
                    <a:lnTo>
                      <a:pt x="2064" y="452"/>
                    </a:lnTo>
                    <a:lnTo>
                      <a:pt x="2105" y="297"/>
                    </a:lnTo>
                    <a:lnTo>
                      <a:pt x="1877" y="204"/>
                    </a:lnTo>
                    <a:lnTo>
                      <a:pt x="1796" y="341"/>
                    </a:lnTo>
                    <a:lnTo>
                      <a:pt x="1774" y="371"/>
                    </a:lnTo>
                    <a:lnTo>
                      <a:pt x="1748" y="397"/>
                    </a:lnTo>
                    <a:lnTo>
                      <a:pt x="1717" y="416"/>
                    </a:lnTo>
                    <a:lnTo>
                      <a:pt x="1683" y="429"/>
                    </a:lnTo>
                    <a:lnTo>
                      <a:pt x="1648" y="435"/>
                    </a:lnTo>
                    <a:lnTo>
                      <a:pt x="1611" y="433"/>
                    </a:lnTo>
                    <a:lnTo>
                      <a:pt x="1524" y="426"/>
                    </a:lnTo>
                    <a:lnTo>
                      <a:pt x="1437" y="426"/>
                    </a:lnTo>
                    <a:lnTo>
                      <a:pt x="1352" y="433"/>
                    </a:lnTo>
                    <a:lnTo>
                      <a:pt x="1314" y="435"/>
                    </a:lnTo>
                    <a:lnTo>
                      <a:pt x="1278" y="428"/>
                    </a:lnTo>
                    <a:lnTo>
                      <a:pt x="1244" y="416"/>
                    </a:lnTo>
                    <a:lnTo>
                      <a:pt x="1215" y="397"/>
                    </a:lnTo>
                    <a:lnTo>
                      <a:pt x="1187" y="371"/>
                    </a:lnTo>
                    <a:lnTo>
                      <a:pt x="1166" y="341"/>
                    </a:lnTo>
                    <a:lnTo>
                      <a:pt x="1086" y="204"/>
                    </a:lnTo>
                    <a:close/>
                    <a:moveTo>
                      <a:pt x="1877" y="0"/>
                    </a:moveTo>
                    <a:lnTo>
                      <a:pt x="1911" y="4"/>
                    </a:lnTo>
                    <a:lnTo>
                      <a:pt x="1943" y="14"/>
                    </a:lnTo>
                    <a:lnTo>
                      <a:pt x="2192" y="117"/>
                    </a:lnTo>
                    <a:lnTo>
                      <a:pt x="2222" y="133"/>
                    </a:lnTo>
                    <a:lnTo>
                      <a:pt x="2248" y="154"/>
                    </a:lnTo>
                    <a:lnTo>
                      <a:pt x="2269" y="178"/>
                    </a:lnTo>
                    <a:lnTo>
                      <a:pt x="2287" y="207"/>
                    </a:lnTo>
                    <a:lnTo>
                      <a:pt x="2299" y="236"/>
                    </a:lnTo>
                    <a:lnTo>
                      <a:pt x="2306" y="269"/>
                    </a:lnTo>
                    <a:lnTo>
                      <a:pt x="2307" y="302"/>
                    </a:lnTo>
                    <a:lnTo>
                      <a:pt x="2302" y="335"/>
                    </a:lnTo>
                    <a:lnTo>
                      <a:pt x="2281" y="416"/>
                    </a:lnTo>
                    <a:lnTo>
                      <a:pt x="2260" y="497"/>
                    </a:lnTo>
                    <a:lnTo>
                      <a:pt x="2333" y="559"/>
                    </a:lnTo>
                    <a:lnTo>
                      <a:pt x="2402" y="629"/>
                    </a:lnTo>
                    <a:lnTo>
                      <a:pt x="2466" y="702"/>
                    </a:lnTo>
                    <a:lnTo>
                      <a:pt x="2546" y="680"/>
                    </a:lnTo>
                    <a:lnTo>
                      <a:pt x="2626" y="660"/>
                    </a:lnTo>
                    <a:lnTo>
                      <a:pt x="2660" y="656"/>
                    </a:lnTo>
                    <a:lnTo>
                      <a:pt x="2694" y="656"/>
                    </a:lnTo>
                    <a:lnTo>
                      <a:pt x="2725" y="663"/>
                    </a:lnTo>
                    <a:lnTo>
                      <a:pt x="2757" y="675"/>
                    </a:lnTo>
                    <a:lnTo>
                      <a:pt x="2784" y="692"/>
                    </a:lnTo>
                    <a:lnTo>
                      <a:pt x="2808" y="714"/>
                    </a:lnTo>
                    <a:lnTo>
                      <a:pt x="2829" y="741"/>
                    </a:lnTo>
                    <a:lnTo>
                      <a:pt x="2845" y="771"/>
                    </a:lnTo>
                    <a:lnTo>
                      <a:pt x="2948" y="1020"/>
                    </a:lnTo>
                    <a:lnTo>
                      <a:pt x="2948" y="1020"/>
                    </a:lnTo>
                    <a:lnTo>
                      <a:pt x="2957" y="1051"/>
                    </a:lnTo>
                    <a:lnTo>
                      <a:pt x="2962" y="1085"/>
                    </a:lnTo>
                    <a:lnTo>
                      <a:pt x="2960" y="1117"/>
                    </a:lnTo>
                    <a:lnTo>
                      <a:pt x="2952" y="1150"/>
                    </a:lnTo>
                    <a:lnTo>
                      <a:pt x="2940" y="1180"/>
                    </a:lnTo>
                    <a:lnTo>
                      <a:pt x="2921" y="1207"/>
                    </a:lnTo>
                    <a:lnTo>
                      <a:pt x="2899" y="1231"/>
                    </a:lnTo>
                    <a:lnTo>
                      <a:pt x="2872" y="1252"/>
                    </a:lnTo>
                    <a:lnTo>
                      <a:pt x="2728" y="1336"/>
                    </a:lnTo>
                    <a:lnTo>
                      <a:pt x="2735" y="1432"/>
                    </a:lnTo>
                    <a:lnTo>
                      <a:pt x="2735" y="1530"/>
                    </a:lnTo>
                    <a:lnTo>
                      <a:pt x="2728" y="1626"/>
                    </a:lnTo>
                    <a:lnTo>
                      <a:pt x="2872" y="1710"/>
                    </a:lnTo>
                    <a:lnTo>
                      <a:pt x="2899" y="1731"/>
                    </a:lnTo>
                    <a:lnTo>
                      <a:pt x="2921" y="1755"/>
                    </a:lnTo>
                    <a:lnTo>
                      <a:pt x="2940" y="1782"/>
                    </a:lnTo>
                    <a:lnTo>
                      <a:pt x="2952" y="1814"/>
                    </a:lnTo>
                    <a:lnTo>
                      <a:pt x="2960" y="1845"/>
                    </a:lnTo>
                    <a:lnTo>
                      <a:pt x="2962" y="1877"/>
                    </a:lnTo>
                    <a:lnTo>
                      <a:pt x="2957" y="1911"/>
                    </a:lnTo>
                    <a:lnTo>
                      <a:pt x="2948" y="1944"/>
                    </a:lnTo>
                    <a:lnTo>
                      <a:pt x="2845" y="2191"/>
                    </a:lnTo>
                    <a:lnTo>
                      <a:pt x="2829" y="2221"/>
                    </a:lnTo>
                    <a:lnTo>
                      <a:pt x="2808" y="2248"/>
                    </a:lnTo>
                    <a:lnTo>
                      <a:pt x="2784" y="2270"/>
                    </a:lnTo>
                    <a:lnTo>
                      <a:pt x="2757" y="2287"/>
                    </a:lnTo>
                    <a:lnTo>
                      <a:pt x="2725" y="2300"/>
                    </a:lnTo>
                    <a:lnTo>
                      <a:pt x="2694" y="2306"/>
                    </a:lnTo>
                    <a:lnTo>
                      <a:pt x="2660" y="2306"/>
                    </a:lnTo>
                    <a:lnTo>
                      <a:pt x="2626" y="2302"/>
                    </a:lnTo>
                    <a:lnTo>
                      <a:pt x="2546" y="2282"/>
                    </a:lnTo>
                    <a:lnTo>
                      <a:pt x="2466" y="2260"/>
                    </a:lnTo>
                    <a:lnTo>
                      <a:pt x="2402" y="2334"/>
                    </a:lnTo>
                    <a:lnTo>
                      <a:pt x="2333" y="2403"/>
                    </a:lnTo>
                    <a:lnTo>
                      <a:pt x="2260" y="2465"/>
                    </a:lnTo>
                    <a:lnTo>
                      <a:pt x="2281" y="2547"/>
                    </a:lnTo>
                    <a:lnTo>
                      <a:pt x="2302" y="2627"/>
                    </a:lnTo>
                    <a:lnTo>
                      <a:pt x="2307" y="2661"/>
                    </a:lnTo>
                    <a:lnTo>
                      <a:pt x="2306" y="2693"/>
                    </a:lnTo>
                    <a:lnTo>
                      <a:pt x="2299" y="2726"/>
                    </a:lnTo>
                    <a:lnTo>
                      <a:pt x="2287" y="2756"/>
                    </a:lnTo>
                    <a:lnTo>
                      <a:pt x="2269" y="2784"/>
                    </a:lnTo>
                    <a:lnTo>
                      <a:pt x="2248" y="2809"/>
                    </a:lnTo>
                    <a:lnTo>
                      <a:pt x="2222" y="2829"/>
                    </a:lnTo>
                    <a:lnTo>
                      <a:pt x="2192" y="2845"/>
                    </a:lnTo>
                    <a:lnTo>
                      <a:pt x="1943" y="2948"/>
                    </a:lnTo>
                    <a:lnTo>
                      <a:pt x="1911" y="2958"/>
                    </a:lnTo>
                    <a:lnTo>
                      <a:pt x="1877" y="2962"/>
                    </a:lnTo>
                    <a:lnTo>
                      <a:pt x="1844" y="2961"/>
                    </a:lnTo>
                    <a:lnTo>
                      <a:pt x="1813" y="2952"/>
                    </a:lnTo>
                    <a:lnTo>
                      <a:pt x="1783" y="2940"/>
                    </a:lnTo>
                    <a:lnTo>
                      <a:pt x="1755" y="2921"/>
                    </a:lnTo>
                    <a:lnTo>
                      <a:pt x="1730" y="2900"/>
                    </a:lnTo>
                    <a:lnTo>
                      <a:pt x="1711" y="2871"/>
                    </a:lnTo>
                    <a:lnTo>
                      <a:pt x="1626" y="2729"/>
                    </a:lnTo>
                    <a:lnTo>
                      <a:pt x="1529" y="2735"/>
                    </a:lnTo>
                    <a:lnTo>
                      <a:pt x="1432" y="2735"/>
                    </a:lnTo>
                    <a:lnTo>
                      <a:pt x="1335" y="2729"/>
                    </a:lnTo>
                    <a:lnTo>
                      <a:pt x="1293" y="2800"/>
                    </a:lnTo>
                    <a:lnTo>
                      <a:pt x="1251" y="2871"/>
                    </a:lnTo>
                    <a:lnTo>
                      <a:pt x="1232" y="2898"/>
                    </a:lnTo>
                    <a:lnTo>
                      <a:pt x="1208" y="2920"/>
                    </a:lnTo>
                    <a:lnTo>
                      <a:pt x="1182" y="2939"/>
                    </a:lnTo>
                    <a:lnTo>
                      <a:pt x="1152" y="2951"/>
                    </a:lnTo>
                    <a:lnTo>
                      <a:pt x="1122" y="2959"/>
                    </a:lnTo>
                    <a:lnTo>
                      <a:pt x="1090" y="2962"/>
                    </a:lnTo>
                    <a:lnTo>
                      <a:pt x="1054" y="2958"/>
                    </a:lnTo>
                    <a:lnTo>
                      <a:pt x="1019" y="2948"/>
                    </a:lnTo>
                    <a:lnTo>
                      <a:pt x="771" y="2845"/>
                    </a:lnTo>
                    <a:lnTo>
                      <a:pt x="741" y="2829"/>
                    </a:lnTo>
                    <a:lnTo>
                      <a:pt x="714" y="2809"/>
                    </a:lnTo>
                    <a:lnTo>
                      <a:pt x="692" y="2784"/>
                    </a:lnTo>
                    <a:lnTo>
                      <a:pt x="676" y="2756"/>
                    </a:lnTo>
                    <a:lnTo>
                      <a:pt x="663" y="2726"/>
                    </a:lnTo>
                    <a:lnTo>
                      <a:pt x="657" y="2693"/>
                    </a:lnTo>
                    <a:lnTo>
                      <a:pt x="655" y="2661"/>
                    </a:lnTo>
                    <a:lnTo>
                      <a:pt x="661" y="2627"/>
                    </a:lnTo>
                    <a:lnTo>
                      <a:pt x="681" y="2547"/>
                    </a:lnTo>
                    <a:lnTo>
                      <a:pt x="701" y="2465"/>
                    </a:lnTo>
                    <a:lnTo>
                      <a:pt x="628" y="2403"/>
                    </a:lnTo>
                    <a:lnTo>
                      <a:pt x="559" y="2334"/>
                    </a:lnTo>
                    <a:lnTo>
                      <a:pt x="496" y="2260"/>
                    </a:lnTo>
                    <a:lnTo>
                      <a:pt x="415" y="2282"/>
                    </a:lnTo>
                    <a:lnTo>
                      <a:pt x="335" y="2302"/>
                    </a:lnTo>
                    <a:lnTo>
                      <a:pt x="301" y="2306"/>
                    </a:lnTo>
                    <a:lnTo>
                      <a:pt x="268" y="2306"/>
                    </a:lnTo>
                    <a:lnTo>
                      <a:pt x="236" y="2300"/>
                    </a:lnTo>
                    <a:lnTo>
                      <a:pt x="206" y="2287"/>
                    </a:lnTo>
                    <a:lnTo>
                      <a:pt x="177" y="2270"/>
                    </a:lnTo>
                    <a:lnTo>
                      <a:pt x="153" y="2248"/>
                    </a:lnTo>
                    <a:lnTo>
                      <a:pt x="133" y="2221"/>
                    </a:lnTo>
                    <a:lnTo>
                      <a:pt x="116" y="2191"/>
                    </a:lnTo>
                    <a:lnTo>
                      <a:pt x="15" y="1944"/>
                    </a:lnTo>
                    <a:lnTo>
                      <a:pt x="4" y="1911"/>
                    </a:lnTo>
                    <a:lnTo>
                      <a:pt x="0" y="1877"/>
                    </a:lnTo>
                    <a:lnTo>
                      <a:pt x="2" y="1845"/>
                    </a:lnTo>
                    <a:lnTo>
                      <a:pt x="9" y="1814"/>
                    </a:lnTo>
                    <a:lnTo>
                      <a:pt x="23" y="1782"/>
                    </a:lnTo>
                    <a:lnTo>
                      <a:pt x="40" y="1755"/>
                    </a:lnTo>
                    <a:lnTo>
                      <a:pt x="63" y="1731"/>
                    </a:lnTo>
                    <a:lnTo>
                      <a:pt x="91" y="1710"/>
                    </a:lnTo>
                    <a:lnTo>
                      <a:pt x="234" y="1626"/>
                    </a:lnTo>
                    <a:lnTo>
                      <a:pt x="226" y="1530"/>
                    </a:lnTo>
                    <a:lnTo>
                      <a:pt x="226" y="1432"/>
                    </a:lnTo>
                    <a:lnTo>
                      <a:pt x="234" y="1336"/>
                    </a:lnTo>
                    <a:lnTo>
                      <a:pt x="91" y="1252"/>
                    </a:lnTo>
                    <a:lnTo>
                      <a:pt x="63" y="1231"/>
                    </a:lnTo>
                    <a:lnTo>
                      <a:pt x="40" y="1207"/>
                    </a:lnTo>
                    <a:lnTo>
                      <a:pt x="23" y="1180"/>
                    </a:lnTo>
                    <a:lnTo>
                      <a:pt x="9" y="1149"/>
                    </a:lnTo>
                    <a:lnTo>
                      <a:pt x="2" y="1117"/>
                    </a:lnTo>
                    <a:lnTo>
                      <a:pt x="0" y="1085"/>
                    </a:lnTo>
                    <a:lnTo>
                      <a:pt x="4" y="1051"/>
                    </a:lnTo>
                    <a:lnTo>
                      <a:pt x="15" y="1020"/>
                    </a:lnTo>
                    <a:lnTo>
                      <a:pt x="116" y="771"/>
                    </a:lnTo>
                    <a:lnTo>
                      <a:pt x="133" y="741"/>
                    </a:lnTo>
                    <a:lnTo>
                      <a:pt x="153" y="714"/>
                    </a:lnTo>
                    <a:lnTo>
                      <a:pt x="177" y="692"/>
                    </a:lnTo>
                    <a:lnTo>
                      <a:pt x="206" y="675"/>
                    </a:lnTo>
                    <a:lnTo>
                      <a:pt x="236" y="663"/>
                    </a:lnTo>
                    <a:lnTo>
                      <a:pt x="268" y="656"/>
                    </a:lnTo>
                    <a:lnTo>
                      <a:pt x="301" y="656"/>
                    </a:lnTo>
                    <a:lnTo>
                      <a:pt x="335" y="660"/>
                    </a:lnTo>
                    <a:lnTo>
                      <a:pt x="415" y="680"/>
                    </a:lnTo>
                    <a:lnTo>
                      <a:pt x="496" y="702"/>
                    </a:lnTo>
                    <a:lnTo>
                      <a:pt x="559" y="629"/>
                    </a:lnTo>
                    <a:lnTo>
                      <a:pt x="628" y="559"/>
                    </a:lnTo>
                    <a:lnTo>
                      <a:pt x="701" y="497"/>
                    </a:lnTo>
                    <a:lnTo>
                      <a:pt x="681" y="416"/>
                    </a:lnTo>
                    <a:lnTo>
                      <a:pt x="661" y="335"/>
                    </a:lnTo>
                    <a:lnTo>
                      <a:pt x="655" y="302"/>
                    </a:lnTo>
                    <a:lnTo>
                      <a:pt x="657" y="269"/>
                    </a:lnTo>
                    <a:lnTo>
                      <a:pt x="663" y="236"/>
                    </a:lnTo>
                    <a:lnTo>
                      <a:pt x="676" y="207"/>
                    </a:lnTo>
                    <a:lnTo>
                      <a:pt x="692" y="178"/>
                    </a:lnTo>
                    <a:lnTo>
                      <a:pt x="714" y="154"/>
                    </a:lnTo>
                    <a:lnTo>
                      <a:pt x="741" y="133"/>
                    </a:lnTo>
                    <a:lnTo>
                      <a:pt x="771" y="117"/>
                    </a:lnTo>
                    <a:lnTo>
                      <a:pt x="1019" y="14"/>
                    </a:lnTo>
                    <a:lnTo>
                      <a:pt x="1052" y="4"/>
                    </a:lnTo>
                    <a:lnTo>
                      <a:pt x="1084" y="0"/>
                    </a:lnTo>
                    <a:lnTo>
                      <a:pt x="1117" y="2"/>
                    </a:lnTo>
                    <a:lnTo>
                      <a:pt x="1149" y="10"/>
                    </a:lnTo>
                    <a:lnTo>
                      <a:pt x="1179" y="23"/>
                    </a:lnTo>
                    <a:lnTo>
                      <a:pt x="1206" y="41"/>
                    </a:lnTo>
                    <a:lnTo>
                      <a:pt x="1231" y="64"/>
                    </a:lnTo>
                    <a:lnTo>
                      <a:pt x="1251" y="91"/>
                    </a:lnTo>
                    <a:lnTo>
                      <a:pt x="1335" y="234"/>
                    </a:lnTo>
                    <a:lnTo>
                      <a:pt x="1432" y="227"/>
                    </a:lnTo>
                    <a:lnTo>
                      <a:pt x="1529" y="227"/>
                    </a:lnTo>
                    <a:lnTo>
                      <a:pt x="1626" y="234"/>
                    </a:lnTo>
                    <a:lnTo>
                      <a:pt x="1711" y="91"/>
                    </a:lnTo>
                    <a:lnTo>
                      <a:pt x="1730" y="63"/>
                    </a:lnTo>
                    <a:lnTo>
                      <a:pt x="1755" y="41"/>
                    </a:lnTo>
                    <a:lnTo>
                      <a:pt x="1783" y="22"/>
                    </a:lnTo>
                    <a:lnTo>
                      <a:pt x="1813" y="10"/>
                    </a:lnTo>
                    <a:lnTo>
                      <a:pt x="1844" y="2"/>
                    </a:lnTo>
                    <a:lnTo>
                      <a:pt x="187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29" name="Freeform 7">
                <a:extLst>
                  <a:ext uri="{FF2B5EF4-FFF2-40B4-BE49-F238E27FC236}">
                    <a16:creationId xmlns:a16="http://schemas.microsoft.com/office/drawing/2014/main" id="{23242A7C-7DE9-4BF3-BF99-9243D7BE10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23625" y="6213475"/>
                <a:ext cx="1082675" cy="1082675"/>
              </a:xfrm>
              <a:custGeom>
                <a:avLst/>
                <a:gdLst>
                  <a:gd name="T0" fmla="*/ 619 w 1364"/>
                  <a:gd name="T1" fmla="*/ 203 h 1364"/>
                  <a:gd name="T2" fmla="*/ 497 w 1364"/>
                  <a:gd name="T3" fmla="*/ 236 h 1364"/>
                  <a:gd name="T4" fmla="*/ 401 w 1364"/>
                  <a:gd name="T5" fmla="*/ 290 h 1364"/>
                  <a:gd name="T6" fmla="*/ 321 w 1364"/>
                  <a:gd name="T7" fmla="*/ 362 h 1364"/>
                  <a:gd name="T8" fmla="*/ 259 w 1364"/>
                  <a:gd name="T9" fmla="*/ 449 h 1364"/>
                  <a:gd name="T10" fmla="*/ 219 w 1364"/>
                  <a:gd name="T11" fmla="*/ 547 h 1364"/>
                  <a:gd name="T12" fmla="*/ 201 w 1364"/>
                  <a:gd name="T13" fmla="*/ 651 h 1364"/>
                  <a:gd name="T14" fmla="*/ 206 w 1364"/>
                  <a:gd name="T15" fmla="*/ 758 h 1364"/>
                  <a:gd name="T16" fmla="*/ 236 w 1364"/>
                  <a:gd name="T17" fmla="*/ 866 h 1364"/>
                  <a:gd name="T18" fmla="*/ 289 w 1364"/>
                  <a:gd name="T19" fmla="*/ 961 h 1364"/>
                  <a:gd name="T20" fmla="*/ 360 w 1364"/>
                  <a:gd name="T21" fmla="*/ 1041 h 1364"/>
                  <a:gd name="T22" fmla="*/ 448 w 1364"/>
                  <a:gd name="T23" fmla="*/ 1103 h 1364"/>
                  <a:gd name="T24" fmla="*/ 558 w 1364"/>
                  <a:gd name="T25" fmla="*/ 1147 h 1364"/>
                  <a:gd name="T26" fmla="*/ 682 w 1364"/>
                  <a:gd name="T27" fmla="*/ 1163 h 1364"/>
                  <a:gd name="T28" fmla="*/ 806 w 1364"/>
                  <a:gd name="T29" fmla="*/ 1147 h 1364"/>
                  <a:gd name="T30" fmla="*/ 916 w 1364"/>
                  <a:gd name="T31" fmla="*/ 1102 h 1364"/>
                  <a:gd name="T32" fmla="*/ 1006 w 1364"/>
                  <a:gd name="T33" fmla="*/ 1038 h 1364"/>
                  <a:gd name="T34" fmla="*/ 1077 w 1364"/>
                  <a:gd name="T35" fmla="*/ 958 h 1364"/>
                  <a:gd name="T36" fmla="*/ 1127 w 1364"/>
                  <a:gd name="T37" fmla="*/ 866 h 1364"/>
                  <a:gd name="T38" fmla="*/ 1157 w 1364"/>
                  <a:gd name="T39" fmla="*/ 764 h 1364"/>
                  <a:gd name="T40" fmla="*/ 1163 w 1364"/>
                  <a:gd name="T41" fmla="*/ 658 h 1364"/>
                  <a:gd name="T42" fmla="*/ 1146 w 1364"/>
                  <a:gd name="T43" fmla="*/ 549 h 1364"/>
                  <a:gd name="T44" fmla="*/ 1101 w 1364"/>
                  <a:gd name="T45" fmla="*/ 444 h 1364"/>
                  <a:gd name="T46" fmla="*/ 1033 w 1364"/>
                  <a:gd name="T47" fmla="*/ 351 h 1364"/>
                  <a:gd name="T48" fmla="*/ 946 w 1364"/>
                  <a:gd name="T49" fmla="*/ 278 h 1364"/>
                  <a:gd name="T50" fmla="*/ 846 w 1364"/>
                  <a:gd name="T51" fmla="*/ 229 h 1364"/>
                  <a:gd name="T52" fmla="*/ 737 w 1364"/>
                  <a:gd name="T53" fmla="*/ 202 h 1364"/>
                  <a:gd name="T54" fmla="*/ 687 w 1364"/>
                  <a:gd name="T55" fmla="*/ 0 h 1364"/>
                  <a:gd name="T56" fmla="*/ 817 w 1364"/>
                  <a:gd name="T57" fmla="*/ 13 h 1364"/>
                  <a:gd name="T58" fmla="*/ 942 w 1364"/>
                  <a:gd name="T59" fmla="*/ 51 h 1364"/>
                  <a:gd name="T60" fmla="*/ 1059 w 1364"/>
                  <a:gd name="T61" fmla="*/ 112 h 1364"/>
                  <a:gd name="T62" fmla="*/ 1161 w 1364"/>
                  <a:gd name="T63" fmla="*/ 195 h 1364"/>
                  <a:gd name="T64" fmla="*/ 1246 w 1364"/>
                  <a:gd name="T65" fmla="*/ 298 h 1364"/>
                  <a:gd name="T66" fmla="*/ 1311 w 1364"/>
                  <a:gd name="T67" fmla="*/ 420 h 1364"/>
                  <a:gd name="T68" fmla="*/ 1336 w 1364"/>
                  <a:gd name="T69" fmla="*/ 486 h 1364"/>
                  <a:gd name="T70" fmla="*/ 1362 w 1364"/>
                  <a:gd name="T71" fmla="*/ 619 h 1364"/>
                  <a:gd name="T72" fmla="*/ 1360 w 1364"/>
                  <a:gd name="T73" fmla="*/ 752 h 1364"/>
                  <a:gd name="T74" fmla="*/ 1335 w 1364"/>
                  <a:gd name="T75" fmla="*/ 881 h 1364"/>
                  <a:gd name="T76" fmla="*/ 1284 w 1364"/>
                  <a:gd name="T77" fmla="*/ 1001 h 1364"/>
                  <a:gd name="T78" fmla="*/ 1211 w 1364"/>
                  <a:gd name="T79" fmla="*/ 1111 h 1364"/>
                  <a:gd name="T80" fmla="*/ 1119 w 1364"/>
                  <a:gd name="T81" fmla="*/ 1205 h 1364"/>
                  <a:gd name="T82" fmla="*/ 1006 w 1364"/>
                  <a:gd name="T83" fmla="*/ 1281 h 1364"/>
                  <a:gd name="T84" fmla="*/ 878 w 1364"/>
                  <a:gd name="T85" fmla="*/ 1334 h 1364"/>
                  <a:gd name="T86" fmla="*/ 748 w 1364"/>
                  <a:gd name="T87" fmla="*/ 1360 h 1364"/>
                  <a:gd name="T88" fmla="*/ 615 w 1364"/>
                  <a:gd name="T89" fmla="*/ 1360 h 1364"/>
                  <a:gd name="T90" fmla="*/ 485 w 1364"/>
                  <a:gd name="T91" fmla="*/ 1334 h 1364"/>
                  <a:gd name="T92" fmla="*/ 360 w 1364"/>
                  <a:gd name="T93" fmla="*/ 1282 h 1364"/>
                  <a:gd name="T94" fmla="*/ 249 w 1364"/>
                  <a:gd name="T95" fmla="*/ 1208 h 1364"/>
                  <a:gd name="T96" fmla="*/ 155 w 1364"/>
                  <a:gd name="T97" fmla="*/ 1114 h 1364"/>
                  <a:gd name="T98" fmla="*/ 80 w 1364"/>
                  <a:gd name="T99" fmla="*/ 1003 h 1364"/>
                  <a:gd name="T100" fmla="*/ 29 w 1364"/>
                  <a:gd name="T101" fmla="*/ 877 h 1364"/>
                  <a:gd name="T102" fmla="*/ 3 w 1364"/>
                  <a:gd name="T103" fmla="*/ 744 h 1364"/>
                  <a:gd name="T104" fmla="*/ 4 w 1364"/>
                  <a:gd name="T105" fmla="*/ 611 h 1364"/>
                  <a:gd name="T106" fmla="*/ 30 w 1364"/>
                  <a:gd name="T107" fmla="*/ 482 h 1364"/>
                  <a:gd name="T108" fmla="*/ 80 w 1364"/>
                  <a:gd name="T109" fmla="*/ 361 h 1364"/>
                  <a:gd name="T110" fmla="*/ 152 w 1364"/>
                  <a:gd name="T111" fmla="*/ 251 h 1364"/>
                  <a:gd name="T112" fmla="*/ 246 w 1364"/>
                  <a:gd name="T113" fmla="*/ 157 h 1364"/>
                  <a:gd name="T114" fmla="*/ 359 w 1364"/>
                  <a:gd name="T115" fmla="*/ 81 h 1364"/>
                  <a:gd name="T116" fmla="*/ 486 w 1364"/>
                  <a:gd name="T117" fmla="*/ 28 h 1364"/>
                  <a:gd name="T118" fmla="*/ 619 w 1364"/>
                  <a:gd name="T119" fmla="*/ 2 h 1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64" h="1364">
                    <a:moveTo>
                      <a:pt x="682" y="199"/>
                    </a:moveTo>
                    <a:lnTo>
                      <a:pt x="619" y="203"/>
                    </a:lnTo>
                    <a:lnTo>
                      <a:pt x="558" y="216"/>
                    </a:lnTo>
                    <a:lnTo>
                      <a:pt x="497" y="236"/>
                    </a:lnTo>
                    <a:lnTo>
                      <a:pt x="447" y="260"/>
                    </a:lnTo>
                    <a:lnTo>
                      <a:pt x="401" y="290"/>
                    </a:lnTo>
                    <a:lnTo>
                      <a:pt x="359" y="324"/>
                    </a:lnTo>
                    <a:lnTo>
                      <a:pt x="321" y="362"/>
                    </a:lnTo>
                    <a:lnTo>
                      <a:pt x="288" y="404"/>
                    </a:lnTo>
                    <a:lnTo>
                      <a:pt x="259" y="449"/>
                    </a:lnTo>
                    <a:lnTo>
                      <a:pt x="236" y="496"/>
                    </a:lnTo>
                    <a:lnTo>
                      <a:pt x="219" y="547"/>
                    </a:lnTo>
                    <a:lnTo>
                      <a:pt x="208" y="598"/>
                    </a:lnTo>
                    <a:lnTo>
                      <a:pt x="201" y="651"/>
                    </a:lnTo>
                    <a:lnTo>
                      <a:pt x="201" y="704"/>
                    </a:lnTo>
                    <a:lnTo>
                      <a:pt x="206" y="758"/>
                    </a:lnTo>
                    <a:lnTo>
                      <a:pt x="219" y="813"/>
                    </a:lnTo>
                    <a:lnTo>
                      <a:pt x="236" y="866"/>
                    </a:lnTo>
                    <a:lnTo>
                      <a:pt x="261" y="915"/>
                    </a:lnTo>
                    <a:lnTo>
                      <a:pt x="289" y="961"/>
                    </a:lnTo>
                    <a:lnTo>
                      <a:pt x="323" y="1003"/>
                    </a:lnTo>
                    <a:lnTo>
                      <a:pt x="360" y="1041"/>
                    </a:lnTo>
                    <a:lnTo>
                      <a:pt x="402" y="1073"/>
                    </a:lnTo>
                    <a:lnTo>
                      <a:pt x="448" y="1103"/>
                    </a:lnTo>
                    <a:lnTo>
                      <a:pt x="497" y="1126"/>
                    </a:lnTo>
                    <a:lnTo>
                      <a:pt x="558" y="1147"/>
                    </a:lnTo>
                    <a:lnTo>
                      <a:pt x="619" y="1159"/>
                    </a:lnTo>
                    <a:lnTo>
                      <a:pt x="682" y="1163"/>
                    </a:lnTo>
                    <a:lnTo>
                      <a:pt x="744" y="1159"/>
                    </a:lnTo>
                    <a:lnTo>
                      <a:pt x="806" y="1147"/>
                    </a:lnTo>
                    <a:lnTo>
                      <a:pt x="866" y="1126"/>
                    </a:lnTo>
                    <a:lnTo>
                      <a:pt x="916" y="1102"/>
                    </a:lnTo>
                    <a:lnTo>
                      <a:pt x="964" y="1072"/>
                    </a:lnTo>
                    <a:lnTo>
                      <a:pt x="1006" y="1038"/>
                    </a:lnTo>
                    <a:lnTo>
                      <a:pt x="1043" y="1000"/>
                    </a:lnTo>
                    <a:lnTo>
                      <a:pt x="1077" y="958"/>
                    </a:lnTo>
                    <a:lnTo>
                      <a:pt x="1104" y="913"/>
                    </a:lnTo>
                    <a:lnTo>
                      <a:pt x="1127" y="866"/>
                    </a:lnTo>
                    <a:lnTo>
                      <a:pt x="1144" y="815"/>
                    </a:lnTo>
                    <a:lnTo>
                      <a:pt x="1157" y="764"/>
                    </a:lnTo>
                    <a:lnTo>
                      <a:pt x="1163" y="711"/>
                    </a:lnTo>
                    <a:lnTo>
                      <a:pt x="1163" y="658"/>
                    </a:lnTo>
                    <a:lnTo>
                      <a:pt x="1158" y="604"/>
                    </a:lnTo>
                    <a:lnTo>
                      <a:pt x="1146" y="549"/>
                    </a:lnTo>
                    <a:lnTo>
                      <a:pt x="1127" y="496"/>
                    </a:lnTo>
                    <a:lnTo>
                      <a:pt x="1101" y="444"/>
                    </a:lnTo>
                    <a:lnTo>
                      <a:pt x="1070" y="395"/>
                    </a:lnTo>
                    <a:lnTo>
                      <a:pt x="1033" y="351"/>
                    </a:lnTo>
                    <a:lnTo>
                      <a:pt x="991" y="312"/>
                    </a:lnTo>
                    <a:lnTo>
                      <a:pt x="946" y="278"/>
                    </a:lnTo>
                    <a:lnTo>
                      <a:pt x="897" y="251"/>
                    </a:lnTo>
                    <a:lnTo>
                      <a:pt x="846" y="229"/>
                    </a:lnTo>
                    <a:lnTo>
                      <a:pt x="793" y="213"/>
                    </a:lnTo>
                    <a:lnTo>
                      <a:pt x="737" y="202"/>
                    </a:lnTo>
                    <a:lnTo>
                      <a:pt x="682" y="199"/>
                    </a:lnTo>
                    <a:close/>
                    <a:moveTo>
                      <a:pt x="687" y="0"/>
                    </a:moveTo>
                    <a:lnTo>
                      <a:pt x="752" y="2"/>
                    </a:lnTo>
                    <a:lnTo>
                      <a:pt x="817" y="13"/>
                    </a:lnTo>
                    <a:lnTo>
                      <a:pt x="881" y="30"/>
                    </a:lnTo>
                    <a:lnTo>
                      <a:pt x="942" y="51"/>
                    </a:lnTo>
                    <a:lnTo>
                      <a:pt x="1002" y="80"/>
                    </a:lnTo>
                    <a:lnTo>
                      <a:pt x="1059" y="112"/>
                    </a:lnTo>
                    <a:lnTo>
                      <a:pt x="1112" y="152"/>
                    </a:lnTo>
                    <a:lnTo>
                      <a:pt x="1161" y="195"/>
                    </a:lnTo>
                    <a:lnTo>
                      <a:pt x="1206" y="245"/>
                    </a:lnTo>
                    <a:lnTo>
                      <a:pt x="1246" y="298"/>
                    </a:lnTo>
                    <a:lnTo>
                      <a:pt x="1282" y="357"/>
                    </a:lnTo>
                    <a:lnTo>
                      <a:pt x="1311" y="420"/>
                    </a:lnTo>
                    <a:lnTo>
                      <a:pt x="1311" y="420"/>
                    </a:lnTo>
                    <a:lnTo>
                      <a:pt x="1336" y="486"/>
                    </a:lnTo>
                    <a:lnTo>
                      <a:pt x="1352" y="552"/>
                    </a:lnTo>
                    <a:lnTo>
                      <a:pt x="1362" y="619"/>
                    </a:lnTo>
                    <a:lnTo>
                      <a:pt x="1364" y="685"/>
                    </a:lnTo>
                    <a:lnTo>
                      <a:pt x="1360" y="752"/>
                    </a:lnTo>
                    <a:lnTo>
                      <a:pt x="1349" y="817"/>
                    </a:lnTo>
                    <a:lnTo>
                      <a:pt x="1335" y="881"/>
                    </a:lnTo>
                    <a:lnTo>
                      <a:pt x="1311" y="942"/>
                    </a:lnTo>
                    <a:lnTo>
                      <a:pt x="1284" y="1001"/>
                    </a:lnTo>
                    <a:lnTo>
                      <a:pt x="1250" y="1057"/>
                    </a:lnTo>
                    <a:lnTo>
                      <a:pt x="1211" y="1111"/>
                    </a:lnTo>
                    <a:lnTo>
                      <a:pt x="1168" y="1160"/>
                    </a:lnTo>
                    <a:lnTo>
                      <a:pt x="1119" y="1205"/>
                    </a:lnTo>
                    <a:lnTo>
                      <a:pt x="1064" y="1246"/>
                    </a:lnTo>
                    <a:lnTo>
                      <a:pt x="1006" y="1281"/>
                    </a:lnTo>
                    <a:lnTo>
                      <a:pt x="942" y="1311"/>
                    </a:lnTo>
                    <a:lnTo>
                      <a:pt x="878" y="1334"/>
                    </a:lnTo>
                    <a:lnTo>
                      <a:pt x="815" y="1350"/>
                    </a:lnTo>
                    <a:lnTo>
                      <a:pt x="748" y="1360"/>
                    </a:lnTo>
                    <a:lnTo>
                      <a:pt x="682" y="1364"/>
                    </a:lnTo>
                    <a:lnTo>
                      <a:pt x="615" y="1360"/>
                    </a:lnTo>
                    <a:lnTo>
                      <a:pt x="550" y="1350"/>
                    </a:lnTo>
                    <a:lnTo>
                      <a:pt x="485" y="1334"/>
                    </a:lnTo>
                    <a:lnTo>
                      <a:pt x="421" y="1311"/>
                    </a:lnTo>
                    <a:lnTo>
                      <a:pt x="360" y="1282"/>
                    </a:lnTo>
                    <a:lnTo>
                      <a:pt x="302" y="1247"/>
                    </a:lnTo>
                    <a:lnTo>
                      <a:pt x="249" y="1208"/>
                    </a:lnTo>
                    <a:lnTo>
                      <a:pt x="200" y="1163"/>
                    </a:lnTo>
                    <a:lnTo>
                      <a:pt x="155" y="1114"/>
                    </a:lnTo>
                    <a:lnTo>
                      <a:pt x="116" y="1061"/>
                    </a:lnTo>
                    <a:lnTo>
                      <a:pt x="80" y="1003"/>
                    </a:lnTo>
                    <a:lnTo>
                      <a:pt x="52" y="942"/>
                    </a:lnTo>
                    <a:lnTo>
                      <a:pt x="29" y="877"/>
                    </a:lnTo>
                    <a:lnTo>
                      <a:pt x="12" y="810"/>
                    </a:lnTo>
                    <a:lnTo>
                      <a:pt x="3" y="744"/>
                    </a:lnTo>
                    <a:lnTo>
                      <a:pt x="0" y="677"/>
                    </a:lnTo>
                    <a:lnTo>
                      <a:pt x="4" y="611"/>
                    </a:lnTo>
                    <a:lnTo>
                      <a:pt x="14" y="545"/>
                    </a:lnTo>
                    <a:lnTo>
                      <a:pt x="30" y="482"/>
                    </a:lnTo>
                    <a:lnTo>
                      <a:pt x="52" y="420"/>
                    </a:lnTo>
                    <a:lnTo>
                      <a:pt x="80" y="361"/>
                    </a:lnTo>
                    <a:lnTo>
                      <a:pt x="113" y="305"/>
                    </a:lnTo>
                    <a:lnTo>
                      <a:pt x="152" y="251"/>
                    </a:lnTo>
                    <a:lnTo>
                      <a:pt x="197" y="202"/>
                    </a:lnTo>
                    <a:lnTo>
                      <a:pt x="246" y="157"/>
                    </a:lnTo>
                    <a:lnTo>
                      <a:pt x="299" y="116"/>
                    </a:lnTo>
                    <a:lnTo>
                      <a:pt x="359" y="81"/>
                    </a:lnTo>
                    <a:lnTo>
                      <a:pt x="421" y="51"/>
                    </a:lnTo>
                    <a:lnTo>
                      <a:pt x="486" y="28"/>
                    </a:lnTo>
                    <a:lnTo>
                      <a:pt x="553" y="12"/>
                    </a:lnTo>
                    <a:lnTo>
                      <a:pt x="619" y="2"/>
                    </a:lnTo>
                    <a:lnTo>
                      <a:pt x="6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30" name="Freeform 8">
                <a:extLst>
                  <a:ext uri="{FF2B5EF4-FFF2-40B4-BE49-F238E27FC236}">
                    <a16:creationId xmlns:a16="http://schemas.microsoft.com/office/drawing/2014/main" id="{064CF21A-501C-4422-ABBD-5C525BD44E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34875" y="4379913"/>
                <a:ext cx="1803400" cy="1804988"/>
              </a:xfrm>
              <a:custGeom>
                <a:avLst/>
                <a:gdLst>
                  <a:gd name="T0" fmla="*/ 1015 w 2272"/>
                  <a:gd name="T1" fmla="*/ 369 h 2272"/>
                  <a:gd name="T2" fmla="*/ 824 w 2272"/>
                  <a:gd name="T3" fmla="*/ 460 h 2272"/>
                  <a:gd name="T4" fmla="*/ 650 w 2272"/>
                  <a:gd name="T5" fmla="*/ 503 h 2272"/>
                  <a:gd name="T6" fmla="*/ 476 w 2272"/>
                  <a:gd name="T7" fmla="*/ 594 h 2272"/>
                  <a:gd name="T8" fmla="*/ 501 w 2272"/>
                  <a:gd name="T9" fmla="*/ 741 h 2272"/>
                  <a:gd name="T10" fmla="*/ 407 w 2272"/>
                  <a:gd name="T11" fmla="*/ 968 h 2272"/>
                  <a:gd name="T12" fmla="*/ 286 w 2272"/>
                  <a:gd name="T13" fmla="*/ 1053 h 2272"/>
                  <a:gd name="T14" fmla="*/ 344 w 2272"/>
                  <a:gd name="T15" fmla="*/ 1239 h 2272"/>
                  <a:gd name="T16" fmla="*/ 437 w 2272"/>
                  <a:gd name="T17" fmla="*/ 1392 h 2272"/>
                  <a:gd name="T18" fmla="*/ 509 w 2272"/>
                  <a:gd name="T19" fmla="*/ 1592 h 2272"/>
                  <a:gd name="T20" fmla="*/ 517 w 2272"/>
                  <a:gd name="T21" fmla="*/ 1854 h 2272"/>
                  <a:gd name="T22" fmla="*/ 710 w 2272"/>
                  <a:gd name="T23" fmla="*/ 1764 h 2272"/>
                  <a:gd name="T24" fmla="*/ 938 w 2272"/>
                  <a:gd name="T25" fmla="*/ 1854 h 2272"/>
                  <a:gd name="T26" fmla="*/ 1045 w 2272"/>
                  <a:gd name="T27" fmla="*/ 1956 h 2272"/>
                  <a:gd name="T28" fmla="*/ 1227 w 2272"/>
                  <a:gd name="T29" fmla="*/ 1956 h 2272"/>
                  <a:gd name="T30" fmla="*/ 1334 w 2272"/>
                  <a:gd name="T31" fmla="*/ 1854 h 2272"/>
                  <a:gd name="T32" fmla="*/ 1562 w 2272"/>
                  <a:gd name="T33" fmla="*/ 1764 h 2272"/>
                  <a:gd name="T34" fmla="*/ 1755 w 2272"/>
                  <a:gd name="T35" fmla="*/ 1854 h 2272"/>
                  <a:gd name="T36" fmla="*/ 1763 w 2272"/>
                  <a:gd name="T37" fmla="*/ 1592 h 2272"/>
                  <a:gd name="T38" fmla="*/ 1835 w 2272"/>
                  <a:gd name="T39" fmla="*/ 1392 h 2272"/>
                  <a:gd name="T40" fmla="*/ 1927 w 2272"/>
                  <a:gd name="T41" fmla="*/ 1239 h 2272"/>
                  <a:gd name="T42" fmla="*/ 1986 w 2272"/>
                  <a:gd name="T43" fmla="*/ 1053 h 2272"/>
                  <a:gd name="T44" fmla="*/ 1865 w 2272"/>
                  <a:gd name="T45" fmla="*/ 968 h 2272"/>
                  <a:gd name="T46" fmla="*/ 1771 w 2272"/>
                  <a:gd name="T47" fmla="*/ 741 h 2272"/>
                  <a:gd name="T48" fmla="*/ 1796 w 2272"/>
                  <a:gd name="T49" fmla="*/ 594 h 2272"/>
                  <a:gd name="T50" fmla="*/ 1622 w 2272"/>
                  <a:gd name="T51" fmla="*/ 503 h 2272"/>
                  <a:gd name="T52" fmla="*/ 1449 w 2272"/>
                  <a:gd name="T53" fmla="*/ 460 h 2272"/>
                  <a:gd name="T54" fmla="*/ 1257 w 2272"/>
                  <a:gd name="T55" fmla="*/ 369 h 2272"/>
                  <a:gd name="T56" fmla="*/ 1065 w 2272"/>
                  <a:gd name="T57" fmla="*/ 190 h 2272"/>
                  <a:gd name="T58" fmla="*/ 1325 w 2272"/>
                  <a:gd name="T59" fmla="*/ 30 h 2272"/>
                  <a:gd name="T60" fmla="*/ 1406 w 2272"/>
                  <a:gd name="T61" fmla="*/ 241 h 2272"/>
                  <a:gd name="T62" fmla="*/ 1692 w 2272"/>
                  <a:gd name="T63" fmla="*/ 232 h 2272"/>
                  <a:gd name="T64" fmla="*/ 1844 w 2272"/>
                  <a:gd name="T65" fmla="*/ 243 h 2272"/>
                  <a:gd name="T66" fmla="*/ 2052 w 2272"/>
                  <a:gd name="T67" fmla="*/ 487 h 2272"/>
                  <a:gd name="T68" fmla="*/ 1960 w 2272"/>
                  <a:gd name="T69" fmla="*/ 693 h 2272"/>
                  <a:gd name="T70" fmla="*/ 2169 w 2272"/>
                  <a:gd name="T71" fmla="*/ 890 h 2272"/>
                  <a:gd name="T72" fmla="*/ 2268 w 2272"/>
                  <a:gd name="T73" fmla="*/ 1006 h 2272"/>
                  <a:gd name="T74" fmla="*/ 2243 w 2272"/>
                  <a:gd name="T75" fmla="*/ 1325 h 2272"/>
                  <a:gd name="T76" fmla="*/ 2032 w 2272"/>
                  <a:gd name="T77" fmla="*/ 1406 h 2272"/>
                  <a:gd name="T78" fmla="*/ 2040 w 2272"/>
                  <a:gd name="T79" fmla="*/ 1692 h 2272"/>
                  <a:gd name="T80" fmla="*/ 2029 w 2272"/>
                  <a:gd name="T81" fmla="*/ 1844 h 2272"/>
                  <a:gd name="T82" fmla="*/ 1786 w 2272"/>
                  <a:gd name="T83" fmla="*/ 2052 h 2272"/>
                  <a:gd name="T84" fmla="*/ 1578 w 2272"/>
                  <a:gd name="T85" fmla="*/ 1960 h 2272"/>
                  <a:gd name="T86" fmla="*/ 1382 w 2272"/>
                  <a:gd name="T87" fmla="*/ 2169 h 2272"/>
                  <a:gd name="T88" fmla="*/ 1266 w 2272"/>
                  <a:gd name="T89" fmla="*/ 2268 h 2272"/>
                  <a:gd name="T90" fmla="*/ 947 w 2272"/>
                  <a:gd name="T91" fmla="*/ 2244 h 2272"/>
                  <a:gd name="T92" fmla="*/ 867 w 2272"/>
                  <a:gd name="T93" fmla="*/ 2032 h 2272"/>
                  <a:gd name="T94" fmla="*/ 579 w 2272"/>
                  <a:gd name="T95" fmla="*/ 2040 h 2272"/>
                  <a:gd name="T96" fmla="*/ 427 w 2272"/>
                  <a:gd name="T97" fmla="*/ 2029 h 2272"/>
                  <a:gd name="T98" fmla="*/ 220 w 2272"/>
                  <a:gd name="T99" fmla="*/ 1786 h 2272"/>
                  <a:gd name="T100" fmla="*/ 312 w 2272"/>
                  <a:gd name="T101" fmla="*/ 1578 h 2272"/>
                  <a:gd name="T102" fmla="*/ 103 w 2272"/>
                  <a:gd name="T103" fmla="*/ 1383 h 2272"/>
                  <a:gd name="T104" fmla="*/ 4 w 2272"/>
                  <a:gd name="T105" fmla="*/ 1266 h 2272"/>
                  <a:gd name="T106" fmla="*/ 30 w 2272"/>
                  <a:gd name="T107" fmla="*/ 947 h 2272"/>
                  <a:gd name="T108" fmla="*/ 241 w 2272"/>
                  <a:gd name="T109" fmla="*/ 867 h 2272"/>
                  <a:gd name="T110" fmla="*/ 232 w 2272"/>
                  <a:gd name="T111" fmla="*/ 581 h 2272"/>
                  <a:gd name="T112" fmla="*/ 243 w 2272"/>
                  <a:gd name="T113" fmla="*/ 427 h 2272"/>
                  <a:gd name="T114" fmla="*/ 487 w 2272"/>
                  <a:gd name="T115" fmla="*/ 220 h 2272"/>
                  <a:gd name="T116" fmla="*/ 693 w 2272"/>
                  <a:gd name="T117" fmla="*/ 313 h 2272"/>
                  <a:gd name="T118" fmla="*/ 890 w 2272"/>
                  <a:gd name="T119" fmla="*/ 103 h 2272"/>
                  <a:gd name="T120" fmla="*/ 1006 w 2272"/>
                  <a:gd name="T121" fmla="*/ 4 h 2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272" h="2272">
                    <a:moveTo>
                      <a:pt x="1065" y="190"/>
                    </a:moveTo>
                    <a:lnTo>
                      <a:pt x="1052" y="286"/>
                    </a:lnTo>
                    <a:lnTo>
                      <a:pt x="1045" y="316"/>
                    </a:lnTo>
                    <a:lnTo>
                      <a:pt x="1033" y="345"/>
                    </a:lnTo>
                    <a:lnTo>
                      <a:pt x="1015" y="369"/>
                    </a:lnTo>
                    <a:lnTo>
                      <a:pt x="993" y="391"/>
                    </a:lnTo>
                    <a:lnTo>
                      <a:pt x="966" y="407"/>
                    </a:lnTo>
                    <a:lnTo>
                      <a:pt x="938" y="418"/>
                    </a:lnTo>
                    <a:lnTo>
                      <a:pt x="879" y="437"/>
                    </a:lnTo>
                    <a:lnTo>
                      <a:pt x="824" y="460"/>
                    </a:lnTo>
                    <a:lnTo>
                      <a:pt x="769" y="488"/>
                    </a:lnTo>
                    <a:lnTo>
                      <a:pt x="739" y="501"/>
                    </a:lnTo>
                    <a:lnTo>
                      <a:pt x="710" y="507"/>
                    </a:lnTo>
                    <a:lnTo>
                      <a:pt x="680" y="509"/>
                    </a:lnTo>
                    <a:lnTo>
                      <a:pt x="650" y="503"/>
                    </a:lnTo>
                    <a:lnTo>
                      <a:pt x="620" y="493"/>
                    </a:lnTo>
                    <a:lnTo>
                      <a:pt x="594" y="476"/>
                    </a:lnTo>
                    <a:lnTo>
                      <a:pt x="517" y="418"/>
                    </a:lnTo>
                    <a:lnTo>
                      <a:pt x="418" y="517"/>
                    </a:lnTo>
                    <a:lnTo>
                      <a:pt x="476" y="594"/>
                    </a:lnTo>
                    <a:lnTo>
                      <a:pt x="492" y="621"/>
                    </a:lnTo>
                    <a:lnTo>
                      <a:pt x="503" y="650"/>
                    </a:lnTo>
                    <a:lnTo>
                      <a:pt x="509" y="680"/>
                    </a:lnTo>
                    <a:lnTo>
                      <a:pt x="507" y="710"/>
                    </a:lnTo>
                    <a:lnTo>
                      <a:pt x="501" y="741"/>
                    </a:lnTo>
                    <a:lnTo>
                      <a:pt x="488" y="769"/>
                    </a:lnTo>
                    <a:lnTo>
                      <a:pt x="460" y="824"/>
                    </a:lnTo>
                    <a:lnTo>
                      <a:pt x="437" y="879"/>
                    </a:lnTo>
                    <a:lnTo>
                      <a:pt x="418" y="938"/>
                    </a:lnTo>
                    <a:lnTo>
                      <a:pt x="407" y="968"/>
                    </a:lnTo>
                    <a:lnTo>
                      <a:pt x="391" y="993"/>
                    </a:lnTo>
                    <a:lnTo>
                      <a:pt x="369" y="1015"/>
                    </a:lnTo>
                    <a:lnTo>
                      <a:pt x="344" y="1033"/>
                    </a:lnTo>
                    <a:lnTo>
                      <a:pt x="316" y="1045"/>
                    </a:lnTo>
                    <a:lnTo>
                      <a:pt x="286" y="1053"/>
                    </a:lnTo>
                    <a:lnTo>
                      <a:pt x="190" y="1065"/>
                    </a:lnTo>
                    <a:lnTo>
                      <a:pt x="190" y="1206"/>
                    </a:lnTo>
                    <a:lnTo>
                      <a:pt x="286" y="1220"/>
                    </a:lnTo>
                    <a:lnTo>
                      <a:pt x="316" y="1227"/>
                    </a:lnTo>
                    <a:lnTo>
                      <a:pt x="344" y="1239"/>
                    </a:lnTo>
                    <a:lnTo>
                      <a:pt x="369" y="1257"/>
                    </a:lnTo>
                    <a:lnTo>
                      <a:pt x="391" y="1280"/>
                    </a:lnTo>
                    <a:lnTo>
                      <a:pt x="407" y="1306"/>
                    </a:lnTo>
                    <a:lnTo>
                      <a:pt x="418" y="1334"/>
                    </a:lnTo>
                    <a:lnTo>
                      <a:pt x="437" y="1392"/>
                    </a:lnTo>
                    <a:lnTo>
                      <a:pt x="460" y="1449"/>
                    </a:lnTo>
                    <a:lnTo>
                      <a:pt x="488" y="1504"/>
                    </a:lnTo>
                    <a:lnTo>
                      <a:pt x="501" y="1532"/>
                    </a:lnTo>
                    <a:lnTo>
                      <a:pt x="507" y="1562"/>
                    </a:lnTo>
                    <a:lnTo>
                      <a:pt x="509" y="1592"/>
                    </a:lnTo>
                    <a:lnTo>
                      <a:pt x="503" y="1623"/>
                    </a:lnTo>
                    <a:lnTo>
                      <a:pt x="492" y="1652"/>
                    </a:lnTo>
                    <a:lnTo>
                      <a:pt x="476" y="1679"/>
                    </a:lnTo>
                    <a:lnTo>
                      <a:pt x="418" y="1755"/>
                    </a:lnTo>
                    <a:lnTo>
                      <a:pt x="517" y="1854"/>
                    </a:lnTo>
                    <a:lnTo>
                      <a:pt x="594" y="1797"/>
                    </a:lnTo>
                    <a:lnTo>
                      <a:pt x="620" y="1779"/>
                    </a:lnTo>
                    <a:lnTo>
                      <a:pt x="650" y="1768"/>
                    </a:lnTo>
                    <a:lnTo>
                      <a:pt x="680" y="1764"/>
                    </a:lnTo>
                    <a:lnTo>
                      <a:pt x="710" y="1764"/>
                    </a:lnTo>
                    <a:lnTo>
                      <a:pt x="739" y="1771"/>
                    </a:lnTo>
                    <a:lnTo>
                      <a:pt x="769" y="1783"/>
                    </a:lnTo>
                    <a:lnTo>
                      <a:pt x="824" y="1812"/>
                    </a:lnTo>
                    <a:lnTo>
                      <a:pt x="879" y="1835"/>
                    </a:lnTo>
                    <a:lnTo>
                      <a:pt x="938" y="1854"/>
                    </a:lnTo>
                    <a:lnTo>
                      <a:pt x="966" y="1865"/>
                    </a:lnTo>
                    <a:lnTo>
                      <a:pt x="993" y="1881"/>
                    </a:lnTo>
                    <a:lnTo>
                      <a:pt x="1015" y="1903"/>
                    </a:lnTo>
                    <a:lnTo>
                      <a:pt x="1033" y="1927"/>
                    </a:lnTo>
                    <a:lnTo>
                      <a:pt x="1045" y="1956"/>
                    </a:lnTo>
                    <a:lnTo>
                      <a:pt x="1052" y="1987"/>
                    </a:lnTo>
                    <a:lnTo>
                      <a:pt x="1065" y="2082"/>
                    </a:lnTo>
                    <a:lnTo>
                      <a:pt x="1206" y="2082"/>
                    </a:lnTo>
                    <a:lnTo>
                      <a:pt x="1220" y="1987"/>
                    </a:lnTo>
                    <a:lnTo>
                      <a:pt x="1227" y="1956"/>
                    </a:lnTo>
                    <a:lnTo>
                      <a:pt x="1239" y="1927"/>
                    </a:lnTo>
                    <a:lnTo>
                      <a:pt x="1257" y="1903"/>
                    </a:lnTo>
                    <a:lnTo>
                      <a:pt x="1278" y="1881"/>
                    </a:lnTo>
                    <a:lnTo>
                      <a:pt x="1306" y="1865"/>
                    </a:lnTo>
                    <a:lnTo>
                      <a:pt x="1334" y="1854"/>
                    </a:lnTo>
                    <a:lnTo>
                      <a:pt x="1392" y="1835"/>
                    </a:lnTo>
                    <a:lnTo>
                      <a:pt x="1449" y="1812"/>
                    </a:lnTo>
                    <a:lnTo>
                      <a:pt x="1504" y="1783"/>
                    </a:lnTo>
                    <a:lnTo>
                      <a:pt x="1532" y="1771"/>
                    </a:lnTo>
                    <a:lnTo>
                      <a:pt x="1562" y="1764"/>
                    </a:lnTo>
                    <a:lnTo>
                      <a:pt x="1592" y="1764"/>
                    </a:lnTo>
                    <a:lnTo>
                      <a:pt x="1622" y="1768"/>
                    </a:lnTo>
                    <a:lnTo>
                      <a:pt x="1652" y="1779"/>
                    </a:lnTo>
                    <a:lnTo>
                      <a:pt x="1677" y="1797"/>
                    </a:lnTo>
                    <a:lnTo>
                      <a:pt x="1755" y="1854"/>
                    </a:lnTo>
                    <a:lnTo>
                      <a:pt x="1854" y="1755"/>
                    </a:lnTo>
                    <a:lnTo>
                      <a:pt x="1796" y="1679"/>
                    </a:lnTo>
                    <a:lnTo>
                      <a:pt x="1779" y="1652"/>
                    </a:lnTo>
                    <a:lnTo>
                      <a:pt x="1768" y="1623"/>
                    </a:lnTo>
                    <a:lnTo>
                      <a:pt x="1763" y="1592"/>
                    </a:lnTo>
                    <a:lnTo>
                      <a:pt x="1764" y="1562"/>
                    </a:lnTo>
                    <a:lnTo>
                      <a:pt x="1771" y="1532"/>
                    </a:lnTo>
                    <a:lnTo>
                      <a:pt x="1783" y="1504"/>
                    </a:lnTo>
                    <a:lnTo>
                      <a:pt x="1812" y="1449"/>
                    </a:lnTo>
                    <a:lnTo>
                      <a:pt x="1835" y="1392"/>
                    </a:lnTo>
                    <a:lnTo>
                      <a:pt x="1854" y="1334"/>
                    </a:lnTo>
                    <a:lnTo>
                      <a:pt x="1865" y="1306"/>
                    </a:lnTo>
                    <a:lnTo>
                      <a:pt x="1881" y="1280"/>
                    </a:lnTo>
                    <a:lnTo>
                      <a:pt x="1903" y="1257"/>
                    </a:lnTo>
                    <a:lnTo>
                      <a:pt x="1927" y="1239"/>
                    </a:lnTo>
                    <a:lnTo>
                      <a:pt x="1956" y="1227"/>
                    </a:lnTo>
                    <a:lnTo>
                      <a:pt x="1986" y="1220"/>
                    </a:lnTo>
                    <a:lnTo>
                      <a:pt x="2082" y="1206"/>
                    </a:lnTo>
                    <a:lnTo>
                      <a:pt x="2082" y="1065"/>
                    </a:lnTo>
                    <a:lnTo>
                      <a:pt x="1986" y="1053"/>
                    </a:lnTo>
                    <a:lnTo>
                      <a:pt x="1956" y="1045"/>
                    </a:lnTo>
                    <a:lnTo>
                      <a:pt x="1927" y="1033"/>
                    </a:lnTo>
                    <a:lnTo>
                      <a:pt x="1903" y="1015"/>
                    </a:lnTo>
                    <a:lnTo>
                      <a:pt x="1881" y="993"/>
                    </a:lnTo>
                    <a:lnTo>
                      <a:pt x="1865" y="968"/>
                    </a:lnTo>
                    <a:lnTo>
                      <a:pt x="1854" y="938"/>
                    </a:lnTo>
                    <a:lnTo>
                      <a:pt x="1835" y="879"/>
                    </a:lnTo>
                    <a:lnTo>
                      <a:pt x="1812" y="824"/>
                    </a:lnTo>
                    <a:lnTo>
                      <a:pt x="1783" y="769"/>
                    </a:lnTo>
                    <a:lnTo>
                      <a:pt x="1771" y="741"/>
                    </a:lnTo>
                    <a:lnTo>
                      <a:pt x="1764" y="710"/>
                    </a:lnTo>
                    <a:lnTo>
                      <a:pt x="1763" y="680"/>
                    </a:lnTo>
                    <a:lnTo>
                      <a:pt x="1768" y="650"/>
                    </a:lnTo>
                    <a:lnTo>
                      <a:pt x="1779" y="621"/>
                    </a:lnTo>
                    <a:lnTo>
                      <a:pt x="1796" y="594"/>
                    </a:lnTo>
                    <a:lnTo>
                      <a:pt x="1854" y="517"/>
                    </a:lnTo>
                    <a:lnTo>
                      <a:pt x="1755" y="418"/>
                    </a:lnTo>
                    <a:lnTo>
                      <a:pt x="1677" y="476"/>
                    </a:lnTo>
                    <a:lnTo>
                      <a:pt x="1652" y="493"/>
                    </a:lnTo>
                    <a:lnTo>
                      <a:pt x="1622" y="503"/>
                    </a:lnTo>
                    <a:lnTo>
                      <a:pt x="1592" y="509"/>
                    </a:lnTo>
                    <a:lnTo>
                      <a:pt x="1562" y="507"/>
                    </a:lnTo>
                    <a:lnTo>
                      <a:pt x="1532" y="501"/>
                    </a:lnTo>
                    <a:lnTo>
                      <a:pt x="1504" y="488"/>
                    </a:lnTo>
                    <a:lnTo>
                      <a:pt x="1449" y="460"/>
                    </a:lnTo>
                    <a:lnTo>
                      <a:pt x="1392" y="437"/>
                    </a:lnTo>
                    <a:lnTo>
                      <a:pt x="1334" y="418"/>
                    </a:lnTo>
                    <a:lnTo>
                      <a:pt x="1306" y="407"/>
                    </a:lnTo>
                    <a:lnTo>
                      <a:pt x="1278" y="391"/>
                    </a:lnTo>
                    <a:lnTo>
                      <a:pt x="1257" y="369"/>
                    </a:lnTo>
                    <a:lnTo>
                      <a:pt x="1239" y="345"/>
                    </a:lnTo>
                    <a:lnTo>
                      <a:pt x="1227" y="316"/>
                    </a:lnTo>
                    <a:lnTo>
                      <a:pt x="1220" y="286"/>
                    </a:lnTo>
                    <a:lnTo>
                      <a:pt x="1206" y="190"/>
                    </a:lnTo>
                    <a:lnTo>
                      <a:pt x="1065" y="190"/>
                    </a:lnTo>
                    <a:close/>
                    <a:moveTo>
                      <a:pt x="1038" y="0"/>
                    </a:moveTo>
                    <a:lnTo>
                      <a:pt x="1234" y="0"/>
                    </a:lnTo>
                    <a:lnTo>
                      <a:pt x="1266" y="4"/>
                    </a:lnTo>
                    <a:lnTo>
                      <a:pt x="1296" y="13"/>
                    </a:lnTo>
                    <a:lnTo>
                      <a:pt x="1325" y="30"/>
                    </a:lnTo>
                    <a:lnTo>
                      <a:pt x="1349" y="50"/>
                    </a:lnTo>
                    <a:lnTo>
                      <a:pt x="1368" y="74"/>
                    </a:lnTo>
                    <a:lnTo>
                      <a:pt x="1382" y="103"/>
                    </a:lnTo>
                    <a:lnTo>
                      <a:pt x="1390" y="136"/>
                    </a:lnTo>
                    <a:lnTo>
                      <a:pt x="1406" y="241"/>
                    </a:lnTo>
                    <a:lnTo>
                      <a:pt x="1464" y="260"/>
                    </a:lnTo>
                    <a:lnTo>
                      <a:pt x="1523" y="285"/>
                    </a:lnTo>
                    <a:lnTo>
                      <a:pt x="1578" y="313"/>
                    </a:lnTo>
                    <a:lnTo>
                      <a:pt x="1664" y="248"/>
                    </a:lnTo>
                    <a:lnTo>
                      <a:pt x="1692" y="232"/>
                    </a:lnTo>
                    <a:lnTo>
                      <a:pt x="1722" y="221"/>
                    </a:lnTo>
                    <a:lnTo>
                      <a:pt x="1753" y="218"/>
                    </a:lnTo>
                    <a:lnTo>
                      <a:pt x="1786" y="220"/>
                    </a:lnTo>
                    <a:lnTo>
                      <a:pt x="1816" y="229"/>
                    </a:lnTo>
                    <a:lnTo>
                      <a:pt x="1844" y="243"/>
                    </a:lnTo>
                    <a:lnTo>
                      <a:pt x="1870" y="264"/>
                    </a:lnTo>
                    <a:lnTo>
                      <a:pt x="2009" y="402"/>
                    </a:lnTo>
                    <a:lnTo>
                      <a:pt x="2029" y="427"/>
                    </a:lnTo>
                    <a:lnTo>
                      <a:pt x="2044" y="456"/>
                    </a:lnTo>
                    <a:lnTo>
                      <a:pt x="2052" y="487"/>
                    </a:lnTo>
                    <a:lnTo>
                      <a:pt x="2055" y="518"/>
                    </a:lnTo>
                    <a:lnTo>
                      <a:pt x="2051" y="550"/>
                    </a:lnTo>
                    <a:lnTo>
                      <a:pt x="2040" y="581"/>
                    </a:lnTo>
                    <a:lnTo>
                      <a:pt x="2024" y="608"/>
                    </a:lnTo>
                    <a:lnTo>
                      <a:pt x="1960" y="693"/>
                    </a:lnTo>
                    <a:lnTo>
                      <a:pt x="1987" y="750"/>
                    </a:lnTo>
                    <a:lnTo>
                      <a:pt x="2011" y="807"/>
                    </a:lnTo>
                    <a:lnTo>
                      <a:pt x="2032" y="867"/>
                    </a:lnTo>
                    <a:lnTo>
                      <a:pt x="2136" y="882"/>
                    </a:lnTo>
                    <a:lnTo>
                      <a:pt x="2169" y="890"/>
                    </a:lnTo>
                    <a:lnTo>
                      <a:pt x="2197" y="904"/>
                    </a:lnTo>
                    <a:lnTo>
                      <a:pt x="2222" y="924"/>
                    </a:lnTo>
                    <a:lnTo>
                      <a:pt x="2243" y="947"/>
                    </a:lnTo>
                    <a:lnTo>
                      <a:pt x="2258" y="976"/>
                    </a:lnTo>
                    <a:lnTo>
                      <a:pt x="2268" y="1006"/>
                    </a:lnTo>
                    <a:lnTo>
                      <a:pt x="2272" y="1038"/>
                    </a:lnTo>
                    <a:lnTo>
                      <a:pt x="2272" y="1234"/>
                    </a:lnTo>
                    <a:lnTo>
                      <a:pt x="2268" y="1266"/>
                    </a:lnTo>
                    <a:lnTo>
                      <a:pt x="2258" y="1297"/>
                    </a:lnTo>
                    <a:lnTo>
                      <a:pt x="2243" y="1325"/>
                    </a:lnTo>
                    <a:lnTo>
                      <a:pt x="2222" y="1349"/>
                    </a:lnTo>
                    <a:lnTo>
                      <a:pt x="2197" y="1368"/>
                    </a:lnTo>
                    <a:lnTo>
                      <a:pt x="2169" y="1383"/>
                    </a:lnTo>
                    <a:lnTo>
                      <a:pt x="2136" y="1391"/>
                    </a:lnTo>
                    <a:lnTo>
                      <a:pt x="2032" y="1406"/>
                    </a:lnTo>
                    <a:lnTo>
                      <a:pt x="2011" y="1464"/>
                    </a:lnTo>
                    <a:lnTo>
                      <a:pt x="1987" y="1523"/>
                    </a:lnTo>
                    <a:lnTo>
                      <a:pt x="1960" y="1578"/>
                    </a:lnTo>
                    <a:lnTo>
                      <a:pt x="2024" y="1664"/>
                    </a:lnTo>
                    <a:lnTo>
                      <a:pt x="2040" y="1692"/>
                    </a:lnTo>
                    <a:lnTo>
                      <a:pt x="2051" y="1722"/>
                    </a:lnTo>
                    <a:lnTo>
                      <a:pt x="2055" y="1754"/>
                    </a:lnTo>
                    <a:lnTo>
                      <a:pt x="2052" y="1786"/>
                    </a:lnTo>
                    <a:lnTo>
                      <a:pt x="2044" y="1816"/>
                    </a:lnTo>
                    <a:lnTo>
                      <a:pt x="2029" y="1844"/>
                    </a:lnTo>
                    <a:lnTo>
                      <a:pt x="2009" y="1870"/>
                    </a:lnTo>
                    <a:lnTo>
                      <a:pt x="1870" y="2009"/>
                    </a:lnTo>
                    <a:lnTo>
                      <a:pt x="1844" y="2029"/>
                    </a:lnTo>
                    <a:lnTo>
                      <a:pt x="1816" y="2044"/>
                    </a:lnTo>
                    <a:lnTo>
                      <a:pt x="1786" y="2052"/>
                    </a:lnTo>
                    <a:lnTo>
                      <a:pt x="1753" y="2055"/>
                    </a:lnTo>
                    <a:lnTo>
                      <a:pt x="1722" y="2051"/>
                    </a:lnTo>
                    <a:lnTo>
                      <a:pt x="1692" y="2040"/>
                    </a:lnTo>
                    <a:lnTo>
                      <a:pt x="1664" y="2024"/>
                    </a:lnTo>
                    <a:lnTo>
                      <a:pt x="1578" y="1960"/>
                    </a:lnTo>
                    <a:lnTo>
                      <a:pt x="1523" y="1987"/>
                    </a:lnTo>
                    <a:lnTo>
                      <a:pt x="1464" y="2011"/>
                    </a:lnTo>
                    <a:lnTo>
                      <a:pt x="1405" y="2032"/>
                    </a:lnTo>
                    <a:lnTo>
                      <a:pt x="1390" y="2138"/>
                    </a:lnTo>
                    <a:lnTo>
                      <a:pt x="1382" y="2169"/>
                    </a:lnTo>
                    <a:lnTo>
                      <a:pt x="1368" y="2197"/>
                    </a:lnTo>
                    <a:lnTo>
                      <a:pt x="1349" y="2222"/>
                    </a:lnTo>
                    <a:lnTo>
                      <a:pt x="1325" y="2244"/>
                    </a:lnTo>
                    <a:lnTo>
                      <a:pt x="1296" y="2258"/>
                    </a:lnTo>
                    <a:lnTo>
                      <a:pt x="1266" y="2268"/>
                    </a:lnTo>
                    <a:lnTo>
                      <a:pt x="1234" y="2272"/>
                    </a:lnTo>
                    <a:lnTo>
                      <a:pt x="1038" y="2272"/>
                    </a:lnTo>
                    <a:lnTo>
                      <a:pt x="1006" y="2268"/>
                    </a:lnTo>
                    <a:lnTo>
                      <a:pt x="976" y="2258"/>
                    </a:lnTo>
                    <a:lnTo>
                      <a:pt x="947" y="2244"/>
                    </a:lnTo>
                    <a:lnTo>
                      <a:pt x="924" y="2222"/>
                    </a:lnTo>
                    <a:lnTo>
                      <a:pt x="904" y="2197"/>
                    </a:lnTo>
                    <a:lnTo>
                      <a:pt x="890" y="2169"/>
                    </a:lnTo>
                    <a:lnTo>
                      <a:pt x="882" y="2138"/>
                    </a:lnTo>
                    <a:lnTo>
                      <a:pt x="867" y="2032"/>
                    </a:lnTo>
                    <a:lnTo>
                      <a:pt x="807" y="2011"/>
                    </a:lnTo>
                    <a:lnTo>
                      <a:pt x="749" y="1987"/>
                    </a:lnTo>
                    <a:lnTo>
                      <a:pt x="693" y="1960"/>
                    </a:lnTo>
                    <a:lnTo>
                      <a:pt x="608" y="2024"/>
                    </a:lnTo>
                    <a:lnTo>
                      <a:pt x="579" y="2040"/>
                    </a:lnTo>
                    <a:lnTo>
                      <a:pt x="549" y="2051"/>
                    </a:lnTo>
                    <a:lnTo>
                      <a:pt x="518" y="2055"/>
                    </a:lnTo>
                    <a:lnTo>
                      <a:pt x="487" y="2052"/>
                    </a:lnTo>
                    <a:lnTo>
                      <a:pt x="456" y="2044"/>
                    </a:lnTo>
                    <a:lnTo>
                      <a:pt x="427" y="2029"/>
                    </a:lnTo>
                    <a:lnTo>
                      <a:pt x="401" y="2009"/>
                    </a:lnTo>
                    <a:lnTo>
                      <a:pt x="264" y="1870"/>
                    </a:lnTo>
                    <a:lnTo>
                      <a:pt x="243" y="1844"/>
                    </a:lnTo>
                    <a:lnTo>
                      <a:pt x="229" y="1816"/>
                    </a:lnTo>
                    <a:lnTo>
                      <a:pt x="220" y="1786"/>
                    </a:lnTo>
                    <a:lnTo>
                      <a:pt x="218" y="1754"/>
                    </a:lnTo>
                    <a:lnTo>
                      <a:pt x="221" y="1722"/>
                    </a:lnTo>
                    <a:lnTo>
                      <a:pt x="232" y="1692"/>
                    </a:lnTo>
                    <a:lnTo>
                      <a:pt x="248" y="1664"/>
                    </a:lnTo>
                    <a:lnTo>
                      <a:pt x="312" y="1578"/>
                    </a:lnTo>
                    <a:lnTo>
                      <a:pt x="285" y="1523"/>
                    </a:lnTo>
                    <a:lnTo>
                      <a:pt x="260" y="1464"/>
                    </a:lnTo>
                    <a:lnTo>
                      <a:pt x="241" y="1406"/>
                    </a:lnTo>
                    <a:lnTo>
                      <a:pt x="135" y="1391"/>
                    </a:lnTo>
                    <a:lnTo>
                      <a:pt x="103" y="1383"/>
                    </a:lnTo>
                    <a:lnTo>
                      <a:pt x="74" y="1368"/>
                    </a:lnTo>
                    <a:lnTo>
                      <a:pt x="50" y="1349"/>
                    </a:lnTo>
                    <a:lnTo>
                      <a:pt x="30" y="1325"/>
                    </a:lnTo>
                    <a:lnTo>
                      <a:pt x="13" y="1297"/>
                    </a:lnTo>
                    <a:lnTo>
                      <a:pt x="4" y="1266"/>
                    </a:lnTo>
                    <a:lnTo>
                      <a:pt x="0" y="1234"/>
                    </a:lnTo>
                    <a:lnTo>
                      <a:pt x="0" y="1038"/>
                    </a:lnTo>
                    <a:lnTo>
                      <a:pt x="4" y="1006"/>
                    </a:lnTo>
                    <a:lnTo>
                      <a:pt x="13" y="976"/>
                    </a:lnTo>
                    <a:lnTo>
                      <a:pt x="30" y="947"/>
                    </a:lnTo>
                    <a:lnTo>
                      <a:pt x="50" y="924"/>
                    </a:lnTo>
                    <a:lnTo>
                      <a:pt x="74" y="904"/>
                    </a:lnTo>
                    <a:lnTo>
                      <a:pt x="103" y="890"/>
                    </a:lnTo>
                    <a:lnTo>
                      <a:pt x="135" y="882"/>
                    </a:lnTo>
                    <a:lnTo>
                      <a:pt x="241" y="867"/>
                    </a:lnTo>
                    <a:lnTo>
                      <a:pt x="260" y="807"/>
                    </a:lnTo>
                    <a:lnTo>
                      <a:pt x="285" y="750"/>
                    </a:lnTo>
                    <a:lnTo>
                      <a:pt x="312" y="693"/>
                    </a:lnTo>
                    <a:lnTo>
                      <a:pt x="248" y="608"/>
                    </a:lnTo>
                    <a:lnTo>
                      <a:pt x="232" y="581"/>
                    </a:lnTo>
                    <a:lnTo>
                      <a:pt x="221" y="550"/>
                    </a:lnTo>
                    <a:lnTo>
                      <a:pt x="218" y="518"/>
                    </a:lnTo>
                    <a:lnTo>
                      <a:pt x="220" y="487"/>
                    </a:lnTo>
                    <a:lnTo>
                      <a:pt x="229" y="456"/>
                    </a:lnTo>
                    <a:lnTo>
                      <a:pt x="243" y="427"/>
                    </a:lnTo>
                    <a:lnTo>
                      <a:pt x="264" y="402"/>
                    </a:lnTo>
                    <a:lnTo>
                      <a:pt x="401" y="264"/>
                    </a:lnTo>
                    <a:lnTo>
                      <a:pt x="427" y="243"/>
                    </a:lnTo>
                    <a:lnTo>
                      <a:pt x="456" y="229"/>
                    </a:lnTo>
                    <a:lnTo>
                      <a:pt x="487" y="220"/>
                    </a:lnTo>
                    <a:lnTo>
                      <a:pt x="518" y="218"/>
                    </a:lnTo>
                    <a:lnTo>
                      <a:pt x="549" y="221"/>
                    </a:lnTo>
                    <a:lnTo>
                      <a:pt x="579" y="232"/>
                    </a:lnTo>
                    <a:lnTo>
                      <a:pt x="608" y="248"/>
                    </a:lnTo>
                    <a:lnTo>
                      <a:pt x="693" y="313"/>
                    </a:lnTo>
                    <a:lnTo>
                      <a:pt x="749" y="285"/>
                    </a:lnTo>
                    <a:lnTo>
                      <a:pt x="807" y="260"/>
                    </a:lnTo>
                    <a:lnTo>
                      <a:pt x="867" y="241"/>
                    </a:lnTo>
                    <a:lnTo>
                      <a:pt x="882" y="136"/>
                    </a:lnTo>
                    <a:lnTo>
                      <a:pt x="890" y="103"/>
                    </a:lnTo>
                    <a:lnTo>
                      <a:pt x="904" y="74"/>
                    </a:lnTo>
                    <a:lnTo>
                      <a:pt x="924" y="50"/>
                    </a:lnTo>
                    <a:lnTo>
                      <a:pt x="947" y="30"/>
                    </a:lnTo>
                    <a:lnTo>
                      <a:pt x="976" y="13"/>
                    </a:lnTo>
                    <a:lnTo>
                      <a:pt x="1006" y="4"/>
                    </a:lnTo>
                    <a:lnTo>
                      <a:pt x="103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31" name="Freeform 9">
                <a:extLst>
                  <a:ext uri="{FF2B5EF4-FFF2-40B4-BE49-F238E27FC236}">
                    <a16:creationId xmlns:a16="http://schemas.microsoft.com/office/drawing/2014/main" id="{2D3E545A-3840-4212-BFDC-AEC4DC47FE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915900" y="4960938"/>
                <a:ext cx="642937" cy="642938"/>
              </a:xfrm>
              <a:custGeom>
                <a:avLst/>
                <a:gdLst>
                  <a:gd name="T0" fmla="*/ 364 w 811"/>
                  <a:gd name="T1" fmla="*/ 184 h 811"/>
                  <a:gd name="T2" fmla="*/ 291 w 811"/>
                  <a:gd name="T3" fmla="*/ 211 h 811"/>
                  <a:gd name="T4" fmla="*/ 232 w 811"/>
                  <a:gd name="T5" fmla="*/ 260 h 811"/>
                  <a:gd name="T6" fmla="*/ 194 w 811"/>
                  <a:gd name="T7" fmla="*/ 326 h 811"/>
                  <a:gd name="T8" fmla="*/ 180 w 811"/>
                  <a:gd name="T9" fmla="*/ 405 h 811"/>
                  <a:gd name="T10" fmla="*/ 194 w 811"/>
                  <a:gd name="T11" fmla="*/ 484 h 811"/>
                  <a:gd name="T12" fmla="*/ 232 w 811"/>
                  <a:gd name="T13" fmla="*/ 550 h 811"/>
                  <a:gd name="T14" fmla="*/ 291 w 811"/>
                  <a:gd name="T15" fmla="*/ 599 h 811"/>
                  <a:gd name="T16" fmla="*/ 364 w 811"/>
                  <a:gd name="T17" fmla="*/ 626 h 811"/>
                  <a:gd name="T18" fmla="*/ 446 w 811"/>
                  <a:gd name="T19" fmla="*/ 626 h 811"/>
                  <a:gd name="T20" fmla="*/ 519 w 811"/>
                  <a:gd name="T21" fmla="*/ 599 h 811"/>
                  <a:gd name="T22" fmla="*/ 577 w 811"/>
                  <a:gd name="T23" fmla="*/ 550 h 811"/>
                  <a:gd name="T24" fmla="*/ 615 w 811"/>
                  <a:gd name="T25" fmla="*/ 484 h 811"/>
                  <a:gd name="T26" fmla="*/ 630 w 811"/>
                  <a:gd name="T27" fmla="*/ 405 h 811"/>
                  <a:gd name="T28" fmla="*/ 615 w 811"/>
                  <a:gd name="T29" fmla="*/ 326 h 811"/>
                  <a:gd name="T30" fmla="*/ 577 w 811"/>
                  <a:gd name="T31" fmla="*/ 260 h 811"/>
                  <a:gd name="T32" fmla="*/ 519 w 811"/>
                  <a:gd name="T33" fmla="*/ 211 h 811"/>
                  <a:gd name="T34" fmla="*/ 446 w 811"/>
                  <a:gd name="T35" fmla="*/ 184 h 811"/>
                  <a:gd name="T36" fmla="*/ 405 w 811"/>
                  <a:gd name="T37" fmla="*/ 0 h 811"/>
                  <a:gd name="T38" fmla="*/ 512 w 811"/>
                  <a:gd name="T39" fmla="*/ 14 h 811"/>
                  <a:gd name="T40" fmla="*/ 610 w 811"/>
                  <a:gd name="T41" fmla="*/ 56 h 811"/>
                  <a:gd name="T42" fmla="*/ 691 w 811"/>
                  <a:gd name="T43" fmla="*/ 119 h 811"/>
                  <a:gd name="T44" fmla="*/ 755 w 811"/>
                  <a:gd name="T45" fmla="*/ 201 h 811"/>
                  <a:gd name="T46" fmla="*/ 796 w 811"/>
                  <a:gd name="T47" fmla="*/ 298 h 811"/>
                  <a:gd name="T48" fmla="*/ 811 w 811"/>
                  <a:gd name="T49" fmla="*/ 405 h 811"/>
                  <a:gd name="T50" fmla="*/ 796 w 811"/>
                  <a:gd name="T51" fmla="*/ 512 h 811"/>
                  <a:gd name="T52" fmla="*/ 755 w 811"/>
                  <a:gd name="T53" fmla="*/ 610 h 811"/>
                  <a:gd name="T54" fmla="*/ 691 w 811"/>
                  <a:gd name="T55" fmla="*/ 691 h 811"/>
                  <a:gd name="T56" fmla="*/ 610 w 811"/>
                  <a:gd name="T57" fmla="*/ 755 h 811"/>
                  <a:gd name="T58" fmla="*/ 512 w 811"/>
                  <a:gd name="T59" fmla="*/ 796 h 811"/>
                  <a:gd name="T60" fmla="*/ 405 w 811"/>
                  <a:gd name="T61" fmla="*/ 811 h 811"/>
                  <a:gd name="T62" fmla="*/ 298 w 811"/>
                  <a:gd name="T63" fmla="*/ 796 h 811"/>
                  <a:gd name="T64" fmla="*/ 201 w 811"/>
                  <a:gd name="T65" fmla="*/ 755 h 811"/>
                  <a:gd name="T66" fmla="*/ 118 w 811"/>
                  <a:gd name="T67" fmla="*/ 691 h 811"/>
                  <a:gd name="T68" fmla="*/ 55 w 811"/>
                  <a:gd name="T69" fmla="*/ 610 h 811"/>
                  <a:gd name="T70" fmla="*/ 14 w 811"/>
                  <a:gd name="T71" fmla="*/ 512 h 811"/>
                  <a:gd name="T72" fmla="*/ 0 w 811"/>
                  <a:gd name="T73" fmla="*/ 405 h 811"/>
                  <a:gd name="T74" fmla="*/ 14 w 811"/>
                  <a:gd name="T75" fmla="*/ 298 h 811"/>
                  <a:gd name="T76" fmla="*/ 55 w 811"/>
                  <a:gd name="T77" fmla="*/ 201 h 811"/>
                  <a:gd name="T78" fmla="*/ 118 w 811"/>
                  <a:gd name="T79" fmla="*/ 119 h 811"/>
                  <a:gd name="T80" fmla="*/ 201 w 811"/>
                  <a:gd name="T81" fmla="*/ 56 h 811"/>
                  <a:gd name="T82" fmla="*/ 298 w 811"/>
                  <a:gd name="T83" fmla="*/ 14 h 811"/>
                  <a:gd name="T84" fmla="*/ 405 w 811"/>
                  <a:gd name="T85" fmla="*/ 0 h 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811" h="811">
                    <a:moveTo>
                      <a:pt x="405" y="180"/>
                    </a:moveTo>
                    <a:lnTo>
                      <a:pt x="364" y="184"/>
                    </a:lnTo>
                    <a:lnTo>
                      <a:pt x="326" y="195"/>
                    </a:lnTo>
                    <a:lnTo>
                      <a:pt x="291" y="211"/>
                    </a:lnTo>
                    <a:lnTo>
                      <a:pt x="260" y="233"/>
                    </a:lnTo>
                    <a:lnTo>
                      <a:pt x="232" y="260"/>
                    </a:lnTo>
                    <a:lnTo>
                      <a:pt x="211" y="292"/>
                    </a:lnTo>
                    <a:lnTo>
                      <a:pt x="194" y="326"/>
                    </a:lnTo>
                    <a:lnTo>
                      <a:pt x="184" y="364"/>
                    </a:lnTo>
                    <a:lnTo>
                      <a:pt x="180" y="405"/>
                    </a:lnTo>
                    <a:lnTo>
                      <a:pt x="184" y="446"/>
                    </a:lnTo>
                    <a:lnTo>
                      <a:pt x="194" y="484"/>
                    </a:lnTo>
                    <a:lnTo>
                      <a:pt x="211" y="519"/>
                    </a:lnTo>
                    <a:lnTo>
                      <a:pt x="232" y="550"/>
                    </a:lnTo>
                    <a:lnTo>
                      <a:pt x="260" y="577"/>
                    </a:lnTo>
                    <a:lnTo>
                      <a:pt x="291" y="599"/>
                    </a:lnTo>
                    <a:lnTo>
                      <a:pt x="326" y="617"/>
                    </a:lnTo>
                    <a:lnTo>
                      <a:pt x="364" y="626"/>
                    </a:lnTo>
                    <a:lnTo>
                      <a:pt x="405" y="630"/>
                    </a:lnTo>
                    <a:lnTo>
                      <a:pt x="446" y="626"/>
                    </a:lnTo>
                    <a:lnTo>
                      <a:pt x="484" y="617"/>
                    </a:lnTo>
                    <a:lnTo>
                      <a:pt x="519" y="599"/>
                    </a:lnTo>
                    <a:lnTo>
                      <a:pt x="550" y="577"/>
                    </a:lnTo>
                    <a:lnTo>
                      <a:pt x="577" y="550"/>
                    </a:lnTo>
                    <a:lnTo>
                      <a:pt x="599" y="519"/>
                    </a:lnTo>
                    <a:lnTo>
                      <a:pt x="615" y="484"/>
                    </a:lnTo>
                    <a:lnTo>
                      <a:pt x="626" y="446"/>
                    </a:lnTo>
                    <a:lnTo>
                      <a:pt x="630" y="405"/>
                    </a:lnTo>
                    <a:lnTo>
                      <a:pt x="626" y="364"/>
                    </a:lnTo>
                    <a:lnTo>
                      <a:pt x="615" y="326"/>
                    </a:lnTo>
                    <a:lnTo>
                      <a:pt x="599" y="292"/>
                    </a:lnTo>
                    <a:lnTo>
                      <a:pt x="577" y="260"/>
                    </a:lnTo>
                    <a:lnTo>
                      <a:pt x="550" y="233"/>
                    </a:lnTo>
                    <a:lnTo>
                      <a:pt x="519" y="211"/>
                    </a:lnTo>
                    <a:lnTo>
                      <a:pt x="484" y="195"/>
                    </a:lnTo>
                    <a:lnTo>
                      <a:pt x="446" y="184"/>
                    </a:lnTo>
                    <a:lnTo>
                      <a:pt x="405" y="180"/>
                    </a:lnTo>
                    <a:close/>
                    <a:moveTo>
                      <a:pt x="405" y="0"/>
                    </a:moveTo>
                    <a:lnTo>
                      <a:pt x="459" y="3"/>
                    </a:lnTo>
                    <a:lnTo>
                      <a:pt x="512" y="14"/>
                    </a:lnTo>
                    <a:lnTo>
                      <a:pt x="562" y="32"/>
                    </a:lnTo>
                    <a:lnTo>
                      <a:pt x="610" y="56"/>
                    </a:lnTo>
                    <a:lnTo>
                      <a:pt x="652" y="85"/>
                    </a:lnTo>
                    <a:lnTo>
                      <a:pt x="691" y="119"/>
                    </a:lnTo>
                    <a:lnTo>
                      <a:pt x="725" y="158"/>
                    </a:lnTo>
                    <a:lnTo>
                      <a:pt x="755" y="201"/>
                    </a:lnTo>
                    <a:lnTo>
                      <a:pt x="778" y="247"/>
                    </a:lnTo>
                    <a:lnTo>
                      <a:pt x="796" y="298"/>
                    </a:lnTo>
                    <a:lnTo>
                      <a:pt x="807" y="351"/>
                    </a:lnTo>
                    <a:lnTo>
                      <a:pt x="811" y="405"/>
                    </a:lnTo>
                    <a:lnTo>
                      <a:pt x="807" y="461"/>
                    </a:lnTo>
                    <a:lnTo>
                      <a:pt x="796" y="512"/>
                    </a:lnTo>
                    <a:lnTo>
                      <a:pt x="778" y="562"/>
                    </a:lnTo>
                    <a:lnTo>
                      <a:pt x="755" y="610"/>
                    </a:lnTo>
                    <a:lnTo>
                      <a:pt x="725" y="652"/>
                    </a:lnTo>
                    <a:lnTo>
                      <a:pt x="691" y="691"/>
                    </a:lnTo>
                    <a:lnTo>
                      <a:pt x="652" y="725"/>
                    </a:lnTo>
                    <a:lnTo>
                      <a:pt x="610" y="755"/>
                    </a:lnTo>
                    <a:lnTo>
                      <a:pt x="562" y="778"/>
                    </a:lnTo>
                    <a:lnTo>
                      <a:pt x="512" y="796"/>
                    </a:lnTo>
                    <a:lnTo>
                      <a:pt x="459" y="807"/>
                    </a:lnTo>
                    <a:lnTo>
                      <a:pt x="405" y="811"/>
                    </a:lnTo>
                    <a:lnTo>
                      <a:pt x="351" y="807"/>
                    </a:lnTo>
                    <a:lnTo>
                      <a:pt x="298" y="796"/>
                    </a:lnTo>
                    <a:lnTo>
                      <a:pt x="247" y="778"/>
                    </a:lnTo>
                    <a:lnTo>
                      <a:pt x="201" y="755"/>
                    </a:lnTo>
                    <a:lnTo>
                      <a:pt x="158" y="725"/>
                    </a:lnTo>
                    <a:lnTo>
                      <a:pt x="118" y="691"/>
                    </a:lnTo>
                    <a:lnTo>
                      <a:pt x="84" y="652"/>
                    </a:lnTo>
                    <a:lnTo>
                      <a:pt x="55" y="610"/>
                    </a:lnTo>
                    <a:lnTo>
                      <a:pt x="32" y="562"/>
                    </a:lnTo>
                    <a:lnTo>
                      <a:pt x="14" y="512"/>
                    </a:lnTo>
                    <a:lnTo>
                      <a:pt x="3" y="461"/>
                    </a:lnTo>
                    <a:lnTo>
                      <a:pt x="0" y="405"/>
                    </a:lnTo>
                    <a:lnTo>
                      <a:pt x="3" y="351"/>
                    </a:lnTo>
                    <a:lnTo>
                      <a:pt x="14" y="298"/>
                    </a:lnTo>
                    <a:lnTo>
                      <a:pt x="32" y="247"/>
                    </a:lnTo>
                    <a:lnTo>
                      <a:pt x="55" y="201"/>
                    </a:lnTo>
                    <a:lnTo>
                      <a:pt x="84" y="158"/>
                    </a:lnTo>
                    <a:lnTo>
                      <a:pt x="118" y="119"/>
                    </a:lnTo>
                    <a:lnTo>
                      <a:pt x="158" y="85"/>
                    </a:lnTo>
                    <a:lnTo>
                      <a:pt x="201" y="56"/>
                    </a:lnTo>
                    <a:lnTo>
                      <a:pt x="247" y="32"/>
                    </a:lnTo>
                    <a:lnTo>
                      <a:pt x="298" y="14"/>
                    </a:lnTo>
                    <a:lnTo>
                      <a:pt x="351" y="3"/>
                    </a:lnTo>
                    <a:lnTo>
                      <a:pt x="40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4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0" name="TextBox 159">
            <a:extLst>
              <a:ext uri="{FF2B5EF4-FFF2-40B4-BE49-F238E27FC236}">
                <a16:creationId xmlns:a16="http://schemas.microsoft.com/office/drawing/2014/main" id="{412F6119-D165-47EB-A6E5-D5F5E1FDC834}"/>
              </a:ext>
            </a:extLst>
          </p:cNvPr>
          <p:cNvSpPr txBox="1"/>
          <p:nvPr/>
        </p:nvSpPr>
        <p:spPr>
          <a:xfrm rot="10800000" flipH="1" flipV="1">
            <a:off x="1071357" y="4387007"/>
            <a:ext cx="4198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marR="0" lvl="0" indent="-228594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st cases to usable application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FAE470A9-9A56-42C3-8B3B-0828D0D21B5A}"/>
              </a:ext>
            </a:extLst>
          </p:cNvPr>
          <p:cNvSpPr txBox="1"/>
          <p:nvPr/>
        </p:nvSpPr>
        <p:spPr>
          <a:xfrm rot="10800000" flipH="1" flipV="1">
            <a:off x="1082735" y="5111941"/>
            <a:ext cx="39465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marR="0" lvl="0" indent="-228594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daptation of models to multiple projects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2EB92D-81F9-41C2-9F14-348E45917BD9}"/>
              </a:ext>
            </a:extLst>
          </p:cNvPr>
          <p:cNvSpPr/>
          <p:nvPr/>
        </p:nvSpPr>
        <p:spPr>
          <a:xfrm>
            <a:off x="5947714" y="1462645"/>
            <a:ext cx="3883980" cy="450809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ctr" anchorCtr="0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33" b="0" i="0" u="none" strike="noStrike" kern="1200" cap="none" spc="0" normalizeH="0" baseline="0" noProof="0" dirty="0">
              <a:ln>
                <a:noFill/>
              </a:ln>
              <a:solidFill>
                <a:srgbClr val="A8BBC0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D4E852-2D1C-4045-94F5-650ADF040700}"/>
              </a:ext>
            </a:extLst>
          </p:cNvPr>
          <p:cNvSpPr txBox="1"/>
          <p:nvPr/>
        </p:nvSpPr>
        <p:spPr>
          <a:xfrm>
            <a:off x="6355597" y="2025955"/>
            <a:ext cx="24272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594" marR="0" lvl="0" indent="-228594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Lesser time to market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B34DF47A-D49C-4424-BAC4-F6D664981DBC}"/>
              </a:ext>
            </a:extLst>
          </p:cNvPr>
          <p:cNvSpPr txBox="1"/>
          <p:nvPr/>
        </p:nvSpPr>
        <p:spPr>
          <a:xfrm>
            <a:off x="6362700" y="2740488"/>
            <a:ext cx="18678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594" marR="0" lvl="0" indent="-228594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Rigor on Quality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8EF721C7-2978-4A6C-8FE7-5253597F00D5}"/>
              </a:ext>
            </a:extLst>
          </p:cNvPr>
          <p:cNvSpPr txBox="1"/>
          <p:nvPr/>
        </p:nvSpPr>
        <p:spPr>
          <a:xfrm>
            <a:off x="6463800" y="3518677"/>
            <a:ext cx="2210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594" marR="0" lvl="0" indent="-228594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Improved Efficiency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71" name="Arrow: Right 170">
            <a:extLst>
              <a:ext uri="{FF2B5EF4-FFF2-40B4-BE49-F238E27FC236}">
                <a16:creationId xmlns:a16="http://schemas.microsoft.com/office/drawing/2014/main" id="{EAAAE2D6-FB4D-483E-AB6C-ECCC29C2FAA4}"/>
              </a:ext>
            </a:extLst>
          </p:cNvPr>
          <p:cNvSpPr/>
          <p:nvPr/>
        </p:nvSpPr>
        <p:spPr>
          <a:xfrm>
            <a:off x="363849" y="397658"/>
            <a:ext cx="6769489" cy="411136"/>
          </a:xfrm>
          <a:prstGeom prst="rightArrow">
            <a:avLst>
              <a:gd name="adj1" fmla="val 100000"/>
              <a:gd name="adj2" fmla="val 39895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20000" bIns="120000" rtlCol="0" anchor="t" anchorCtr="0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667" b="0" i="0" u="none" strike="noStrike" kern="1200" cap="none" spc="0" normalizeH="0" baseline="0" noProof="0" dirty="0">
              <a:ln>
                <a:noFill/>
              </a:ln>
              <a:solidFill>
                <a:srgbClr val="A8BBC0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0BE76814-9E73-4240-8CCA-5A57B5630DE2}"/>
              </a:ext>
            </a:extLst>
          </p:cNvPr>
          <p:cNvSpPr txBox="1"/>
          <p:nvPr/>
        </p:nvSpPr>
        <p:spPr>
          <a:xfrm>
            <a:off x="932330" y="386938"/>
            <a:ext cx="3866764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What can we do with Network Data</a:t>
            </a:r>
            <a:endParaRPr kumimoji="0" lang="en-IN" sz="18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23263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.F_aIYRhalKSblZPrQ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Zg3sFTiW_froF3MY_6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Zg3sFTiW_froF3MY_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.F_aIYRhalKSblZPrQ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Zg3sFTiW_froF3MY_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.F_aIYRhalKSblZPrQ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Zg3sFTiW_froF3MY_6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ood Type">
  <a:themeElements>
    <a:clrScheme name="Wood Type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Wood Type">
      <a:majorFont>
        <a:latin typeface="Rockwell Condensed" panose="02060603050405020104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142A1326-48AB-42A9-8428-CB14AA30176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ood Type</Template>
  <TotalTime>318</TotalTime>
  <Words>743</Words>
  <Application>Microsoft Office PowerPoint</Application>
  <PresentationFormat>Widescreen</PresentationFormat>
  <Paragraphs>188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Calibri</vt:lpstr>
      <vt:lpstr>Nokia Pure Headline Light</vt:lpstr>
      <vt:lpstr>Nokia Pure Text Light</vt:lpstr>
      <vt:lpstr>Open Sans</vt:lpstr>
      <vt:lpstr>Rockwell</vt:lpstr>
      <vt:lpstr>Rockwell Condensed</vt:lpstr>
      <vt:lpstr>Rockwell Extra Bold</vt:lpstr>
      <vt:lpstr>Wingdings</vt:lpstr>
      <vt:lpstr>Wood Type</vt:lpstr>
      <vt:lpstr>think-cell Slide</vt:lpstr>
      <vt:lpstr>Analytics In Telecom – An Overview</vt:lpstr>
      <vt:lpstr>PowerPoint Presentation</vt:lpstr>
      <vt:lpstr>PowerPoint Presentation</vt:lpstr>
      <vt:lpstr>PowerPoint Presentation</vt:lpstr>
      <vt:lpstr>PowerPoint Presentation</vt:lpstr>
      <vt:lpstr>Sources of Data (not a exclusive list)</vt:lpstr>
      <vt:lpstr>PowerPoint Presentation</vt:lpstr>
      <vt:lpstr>PowerPoint Presentation</vt:lpstr>
      <vt:lpstr>PowerPoint Presentation</vt:lpstr>
      <vt:lpstr>PowerPoint Presentation</vt:lpstr>
      <vt:lpstr>Towards a Better Network</vt:lpstr>
      <vt:lpstr>Various Touch Points (not an exhaustive one)</vt:lpstr>
      <vt:lpstr>Towards a Better Customer Experience Management</vt:lpstr>
      <vt:lpstr>PowerPoint Presentation</vt:lpstr>
      <vt:lpstr>Than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tesh</dc:creator>
  <cp:lastModifiedBy>Kumar Sundram</cp:lastModifiedBy>
  <cp:revision>15</cp:revision>
  <dcterms:created xsi:type="dcterms:W3CDTF">2020-02-04T10:07:58Z</dcterms:created>
  <dcterms:modified xsi:type="dcterms:W3CDTF">2024-01-19T17:4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11-26T00:00:00Z</vt:filetime>
  </property>
  <property fmtid="{D5CDD505-2E9C-101B-9397-08002B2CF9AE}" pid="3" name="Creator">
    <vt:lpwstr>Acrobat PDFMaker 19 for PowerPoint</vt:lpwstr>
  </property>
  <property fmtid="{D5CDD505-2E9C-101B-9397-08002B2CF9AE}" pid="4" name="LastSaved">
    <vt:filetime>2020-02-04T00:00:00Z</vt:filetime>
  </property>
</Properties>
</file>